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  <p:sldMasterId id="2147483648" r:id="rId5"/>
  </p:sldMasterIdLst>
  <p:notesMasterIdLst>
    <p:notesMasterId r:id="rId26"/>
  </p:notesMasterIdLst>
  <p:sldIdLst>
    <p:sldId id="312" r:id="rId6"/>
    <p:sldId id="259" r:id="rId7"/>
    <p:sldId id="327" r:id="rId8"/>
    <p:sldId id="328" r:id="rId9"/>
    <p:sldId id="333" r:id="rId10"/>
    <p:sldId id="334" r:id="rId11"/>
    <p:sldId id="335" r:id="rId12"/>
    <p:sldId id="336" r:id="rId13"/>
    <p:sldId id="337" r:id="rId14"/>
    <p:sldId id="338" r:id="rId15"/>
    <p:sldId id="339" r:id="rId16"/>
    <p:sldId id="340" r:id="rId17"/>
    <p:sldId id="329" r:id="rId18"/>
    <p:sldId id="341" r:id="rId19"/>
    <p:sldId id="330" r:id="rId20"/>
    <p:sldId id="264" r:id="rId21"/>
    <p:sldId id="331" r:id="rId22"/>
    <p:sldId id="332" r:id="rId23"/>
    <p:sldId id="297" r:id="rId24"/>
    <p:sldId id="262" r:id="rId25"/>
  </p:sldIdLst>
  <p:sldSz cx="12192000" cy="6858000"/>
  <p:notesSz cx="6858000" cy="9144000"/>
  <p:custDataLst>
    <p:tags r:id="rId27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5BF04A9-1534-43B6-9FE2-C4AAEAF0B80B}" v="9" dt="2022-04-19T12:13:13.2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143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ags" Target="tags/tag1.xml"/><Relationship Id="rId30" Type="http://schemas.openxmlformats.org/officeDocument/2006/relationships/theme" Target="theme/theme1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nsson Åsa" userId="S::asa.jonsson@inera.se::e7c157ac-c4f4-446a-aea7-2d9507f60b0e" providerId="AD" clId="Web-{5BDACC9E-8EC4-4BFF-AFF9-6306FFAB43DE}"/>
    <pc:docChg chg="modSld">
      <pc:chgData name="Jonsson Åsa" userId="S::asa.jonsson@inera.se::e7c157ac-c4f4-446a-aea7-2d9507f60b0e" providerId="AD" clId="Web-{5BDACC9E-8EC4-4BFF-AFF9-6306FFAB43DE}" dt="2022-01-26T13:28:57.354" v="24" actId="20577"/>
      <pc:docMkLst>
        <pc:docMk/>
      </pc:docMkLst>
      <pc:sldChg chg="modSp">
        <pc:chgData name="Jonsson Åsa" userId="S::asa.jonsson@inera.se::e7c157ac-c4f4-446a-aea7-2d9507f60b0e" providerId="AD" clId="Web-{5BDACC9E-8EC4-4BFF-AFF9-6306FFAB43DE}" dt="2022-01-26T13:28:57.354" v="24" actId="20577"/>
        <pc:sldMkLst>
          <pc:docMk/>
          <pc:sldMk cId="1079766907" sldId="353"/>
        </pc:sldMkLst>
        <pc:spChg chg="mod">
          <ac:chgData name="Jonsson Åsa" userId="S::asa.jonsson@inera.se::e7c157ac-c4f4-446a-aea7-2d9507f60b0e" providerId="AD" clId="Web-{5BDACC9E-8EC4-4BFF-AFF9-6306FFAB43DE}" dt="2022-01-26T13:28:57.354" v="24" actId="20577"/>
          <ac:spMkLst>
            <pc:docMk/>
            <pc:sldMk cId="1079766907" sldId="353"/>
            <ac:spMk id="3" creationId="{6C1B4C16-DD8B-4F29-BBCD-BE86B33D401F}"/>
          </ac:spMkLst>
        </pc:spChg>
      </pc:sldChg>
    </pc:docChg>
  </pc:docChgLst>
  <pc:docChgLst>
    <pc:chgData name="Axelsson Jenny" userId="35153831-a041-4e19-963c-026d50be729b" providerId="ADAL" clId="{24052DDC-3ED8-40DD-BA6C-D9806D67867F}"/>
    <pc:docChg chg="undo custSel addSld delSld modSld">
      <pc:chgData name="Axelsson Jenny" userId="35153831-a041-4e19-963c-026d50be729b" providerId="ADAL" clId="{24052DDC-3ED8-40DD-BA6C-D9806D67867F}" dt="2021-03-17T13:25:54.847" v="17" actId="47"/>
      <pc:docMkLst>
        <pc:docMk/>
      </pc:docMkLst>
      <pc:sldChg chg="addSp delSp modSp mod">
        <pc:chgData name="Axelsson Jenny" userId="35153831-a041-4e19-963c-026d50be729b" providerId="ADAL" clId="{24052DDC-3ED8-40DD-BA6C-D9806D67867F}" dt="2021-03-17T13:25:46.944" v="15" actId="113"/>
        <pc:sldMkLst>
          <pc:docMk/>
          <pc:sldMk cId="1351546238" sldId="267"/>
        </pc:sldMkLst>
        <pc:spChg chg="add del mod">
          <ac:chgData name="Axelsson Jenny" userId="35153831-a041-4e19-963c-026d50be729b" providerId="ADAL" clId="{24052DDC-3ED8-40DD-BA6C-D9806D67867F}" dt="2021-03-17T13:25:26.813" v="9"/>
          <ac:spMkLst>
            <pc:docMk/>
            <pc:sldMk cId="1351546238" sldId="267"/>
            <ac:spMk id="3" creationId="{53ECE7CC-CE6C-4769-A1DA-1E545A6EE0A7}"/>
          </ac:spMkLst>
        </pc:spChg>
        <pc:spChg chg="mod">
          <ac:chgData name="Axelsson Jenny" userId="35153831-a041-4e19-963c-026d50be729b" providerId="ADAL" clId="{24052DDC-3ED8-40DD-BA6C-D9806D67867F}" dt="2021-03-17T13:25:46.944" v="15" actId="113"/>
          <ac:spMkLst>
            <pc:docMk/>
            <pc:sldMk cId="1351546238" sldId="267"/>
            <ac:spMk id="5" creationId="{E66C5368-8331-464F-8C50-5BB97655E8A7}"/>
          </ac:spMkLst>
        </pc:spChg>
      </pc:sldChg>
      <pc:sldChg chg="del">
        <pc:chgData name="Axelsson Jenny" userId="35153831-a041-4e19-963c-026d50be729b" providerId="ADAL" clId="{24052DDC-3ED8-40DD-BA6C-D9806D67867F}" dt="2021-03-17T13:25:20.682" v="4" actId="47"/>
        <pc:sldMkLst>
          <pc:docMk/>
          <pc:sldMk cId="2850266236" sldId="300"/>
        </pc:sldMkLst>
      </pc:sldChg>
      <pc:sldChg chg="add del">
        <pc:chgData name="Axelsson Jenny" userId="35153831-a041-4e19-963c-026d50be729b" providerId="ADAL" clId="{24052DDC-3ED8-40DD-BA6C-D9806D67867F}" dt="2021-03-17T13:25:54.847" v="17" actId="47"/>
        <pc:sldMkLst>
          <pc:docMk/>
          <pc:sldMk cId="2401049353" sldId="321"/>
        </pc:sldMkLst>
      </pc:sldChg>
      <pc:sldChg chg="modSp add mod">
        <pc:chgData name="Axelsson Jenny" userId="35153831-a041-4e19-963c-026d50be729b" providerId="ADAL" clId="{24052DDC-3ED8-40DD-BA6C-D9806D67867F}" dt="2021-03-17T13:25:52.981" v="16" actId="113"/>
        <pc:sldMkLst>
          <pc:docMk/>
          <pc:sldMk cId="1025984966" sldId="322"/>
        </pc:sldMkLst>
        <pc:spChg chg="mod">
          <ac:chgData name="Axelsson Jenny" userId="35153831-a041-4e19-963c-026d50be729b" providerId="ADAL" clId="{24052DDC-3ED8-40DD-BA6C-D9806D67867F}" dt="2021-03-17T13:25:52.981" v="16" actId="113"/>
          <ac:spMkLst>
            <pc:docMk/>
            <pc:sldMk cId="1025984966" sldId="322"/>
            <ac:spMk id="5" creationId="{E66C5368-8331-464F-8C50-5BB97655E8A7}"/>
          </ac:spMkLst>
        </pc:spChg>
      </pc:sldChg>
      <pc:sldChg chg="del">
        <pc:chgData name="Axelsson Jenny" userId="35153831-a041-4e19-963c-026d50be729b" providerId="ADAL" clId="{24052DDC-3ED8-40DD-BA6C-D9806D67867F}" dt="2021-03-17T13:25:21.366" v="5" actId="47"/>
        <pc:sldMkLst>
          <pc:docMk/>
          <pc:sldMk cId="3939740925" sldId="322"/>
        </pc:sldMkLst>
      </pc:sldChg>
    </pc:docChg>
  </pc:docChgLst>
  <pc:docChgLst>
    <pc:chgData name="Axelsson Jenny" userId="35153831-a041-4e19-963c-026d50be729b" providerId="ADAL" clId="{FD3FC6E3-2886-4C21-BEF3-E1C60B156A1D}"/>
    <pc:docChg chg="modSld">
      <pc:chgData name="Axelsson Jenny" userId="35153831-a041-4e19-963c-026d50be729b" providerId="ADAL" clId="{FD3FC6E3-2886-4C21-BEF3-E1C60B156A1D}" dt="2022-01-28T12:16:41.335" v="104" actId="1076"/>
      <pc:docMkLst>
        <pc:docMk/>
      </pc:docMkLst>
      <pc:sldChg chg="modSp mod">
        <pc:chgData name="Axelsson Jenny" userId="35153831-a041-4e19-963c-026d50be729b" providerId="ADAL" clId="{FD3FC6E3-2886-4C21-BEF3-E1C60B156A1D}" dt="2022-01-28T12:16:41.335" v="104" actId="1076"/>
        <pc:sldMkLst>
          <pc:docMk/>
          <pc:sldMk cId="3360954613" sldId="331"/>
        </pc:sldMkLst>
        <pc:picChg chg="mod">
          <ac:chgData name="Axelsson Jenny" userId="35153831-a041-4e19-963c-026d50be729b" providerId="ADAL" clId="{FD3FC6E3-2886-4C21-BEF3-E1C60B156A1D}" dt="2022-01-28T12:16:41.335" v="104" actId="1076"/>
          <ac:picMkLst>
            <pc:docMk/>
            <pc:sldMk cId="3360954613" sldId="331"/>
            <ac:picMk id="12" creationId="{E94F5483-BB19-4147-AC6C-C268B5932EC2}"/>
          </ac:picMkLst>
        </pc:picChg>
      </pc:sldChg>
      <pc:sldChg chg="modSp mod">
        <pc:chgData name="Axelsson Jenny" userId="35153831-a041-4e19-963c-026d50be729b" providerId="ADAL" clId="{FD3FC6E3-2886-4C21-BEF3-E1C60B156A1D}" dt="2022-01-28T12:10:27.077" v="31" actId="20577"/>
        <pc:sldMkLst>
          <pc:docMk/>
          <pc:sldMk cId="1287501561" sldId="350"/>
        </pc:sldMkLst>
        <pc:spChg chg="mod">
          <ac:chgData name="Axelsson Jenny" userId="35153831-a041-4e19-963c-026d50be729b" providerId="ADAL" clId="{FD3FC6E3-2886-4C21-BEF3-E1C60B156A1D}" dt="2022-01-28T12:10:27.077" v="31" actId="20577"/>
          <ac:spMkLst>
            <pc:docMk/>
            <pc:sldMk cId="1287501561" sldId="350"/>
            <ac:spMk id="3" creationId="{81FABEE2-D3D3-4FC1-A4AD-5357E54D6AF6}"/>
          </ac:spMkLst>
        </pc:spChg>
      </pc:sldChg>
      <pc:sldChg chg="modSp mod">
        <pc:chgData name="Axelsson Jenny" userId="35153831-a041-4e19-963c-026d50be729b" providerId="ADAL" clId="{FD3FC6E3-2886-4C21-BEF3-E1C60B156A1D}" dt="2022-01-28T12:15:18.585" v="103" actId="20577"/>
        <pc:sldMkLst>
          <pc:docMk/>
          <pc:sldMk cId="2992425971" sldId="351"/>
        </pc:sldMkLst>
        <pc:spChg chg="mod">
          <ac:chgData name="Axelsson Jenny" userId="35153831-a041-4e19-963c-026d50be729b" providerId="ADAL" clId="{FD3FC6E3-2886-4C21-BEF3-E1C60B156A1D}" dt="2022-01-28T12:15:18.585" v="103" actId="20577"/>
          <ac:spMkLst>
            <pc:docMk/>
            <pc:sldMk cId="2992425971" sldId="351"/>
            <ac:spMk id="3" creationId="{17E89B72-432E-45FE-A25F-850D59A2F12A}"/>
          </ac:spMkLst>
        </pc:spChg>
      </pc:sldChg>
    </pc:docChg>
  </pc:docChgLst>
  <pc:docChgLst>
    <pc:chgData name="Axelsson Jenny" userId="S::jenny.axelsson@inera.se::35153831-a041-4e19-963c-026d50be729b" providerId="AD" clId="Web-{795CDA3E-C0CF-4FFF-BEF9-BBE00B6DFE52}"/>
    <pc:docChg chg="delSld modSld">
      <pc:chgData name="Axelsson Jenny" userId="S::jenny.axelsson@inera.se::35153831-a041-4e19-963c-026d50be729b" providerId="AD" clId="Web-{795CDA3E-C0CF-4FFF-BEF9-BBE00B6DFE52}" dt="2022-02-01T13:37:53.360" v="101" actId="20577"/>
      <pc:docMkLst>
        <pc:docMk/>
      </pc:docMkLst>
      <pc:sldChg chg="modSp">
        <pc:chgData name="Axelsson Jenny" userId="S::jenny.axelsson@inera.se::35153831-a041-4e19-963c-026d50be729b" providerId="AD" clId="Web-{795CDA3E-C0CF-4FFF-BEF9-BBE00B6DFE52}" dt="2022-02-01T13:36:15.264" v="34" actId="20577"/>
        <pc:sldMkLst>
          <pc:docMk/>
          <pc:sldMk cId="1036871477" sldId="264"/>
        </pc:sldMkLst>
        <pc:spChg chg="mod">
          <ac:chgData name="Axelsson Jenny" userId="S::jenny.axelsson@inera.se::35153831-a041-4e19-963c-026d50be729b" providerId="AD" clId="Web-{795CDA3E-C0CF-4FFF-BEF9-BBE00B6DFE52}" dt="2022-02-01T13:36:15.264" v="34" actId="20577"/>
          <ac:spMkLst>
            <pc:docMk/>
            <pc:sldMk cId="1036871477" sldId="264"/>
            <ac:spMk id="3" creationId="{3E215758-AD04-4783-8B7A-EA30D128D138}"/>
          </ac:spMkLst>
        </pc:spChg>
      </pc:sldChg>
      <pc:sldChg chg="del">
        <pc:chgData name="Axelsson Jenny" userId="S::jenny.axelsson@inera.se::35153831-a041-4e19-963c-026d50be729b" providerId="AD" clId="Web-{795CDA3E-C0CF-4FFF-BEF9-BBE00B6DFE52}" dt="2022-02-01T13:35:43.591" v="14"/>
        <pc:sldMkLst>
          <pc:docMk/>
          <pc:sldMk cId="1968099606" sldId="298"/>
        </pc:sldMkLst>
      </pc:sldChg>
      <pc:sldChg chg="modSp">
        <pc:chgData name="Axelsson Jenny" userId="S::jenny.axelsson@inera.se::35153831-a041-4e19-963c-026d50be729b" providerId="AD" clId="Web-{795CDA3E-C0CF-4FFF-BEF9-BBE00B6DFE52}" dt="2022-02-01T13:35:12.169" v="3" actId="20577"/>
        <pc:sldMkLst>
          <pc:docMk/>
          <pc:sldMk cId="2974578957" sldId="312"/>
        </pc:sldMkLst>
        <pc:spChg chg="mod">
          <ac:chgData name="Axelsson Jenny" userId="S::jenny.axelsson@inera.se::35153831-a041-4e19-963c-026d50be729b" providerId="AD" clId="Web-{795CDA3E-C0CF-4FFF-BEF9-BBE00B6DFE52}" dt="2022-02-01T13:35:12.169" v="3" actId="20577"/>
          <ac:spMkLst>
            <pc:docMk/>
            <pc:sldMk cId="2974578957" sldId="312"/>
            <ac:spMk id="4" creationId="{7C3A8192-81A1-4B54-8CE2-055E1C43C19C}"/>
          </ac:spMkLst>
        </pc:spChg>
      </pc:sldChg>
      <pc:sldChg chg="modSp">
        <pc:chgData name="Axelsson Jenny" userId="S::jenny.axelsson@inera.se::35153831-a041-4e19-963c-026d50be729b" providerId="AD" clId="Web-{795CDA3E-C0CF-4FFF-BEF9-BBE00B6DFE52}" dt="2022-02-01T13:37:53.360" v="101" actId="20577"/>
        <pc:sldMkLst>
          <pc:docMk/>
          <pc:sldMk cId="3738514320" sldId="327"/>
        </pc:sldMkLst>
        <pc:spChg chg="mod">
          <ac:chgData name="Axelsson Jenny" userId="S::jenny.axelsson@inera.se::35153831-a041-4e19-963c-026d50be729b" providerId="AD" clId="Web-{795CDA3E-C0CF-4FFF-BEF9-BBE00B6DFE52}" dt="2022-02-01T13:37:53.360" v="101" actId="20577"/>
          <ac:spMkLst>
            <pc:docMk/>
            <pc:sldMk cId="3738514320" sldId="327"/>
            <ac:spMk id="5" creationId="{BC5C837C-7D53-4E50-BDC1-752E6FCF03A0}"/>
          </ac:spMkLst>
        </pc:spChg>
      </pc:sldChg>
      <pc:sldChg chg="del">
        <pc:chgData name="Axelsson Jenny" userId="S::jenny.axelsson@inera.se::35153831-a041-4e19-963c-026d50be729b" providerId="AD" clId="Web-{795CDA3E-C0CF-4FFF-BEF9-BBE00B6DFE52}" dt="2022-02-01T13:36:05.264" v="30"/>
        <pc:sldMkLst>
          <pc:docMk/>
          <pc:sldMk cId="3360954613" sldId="331"/>
        </pc:sldMkLst>
      </pc:sldChg>
      <pc:sldChg chg="del">
        <pc:chgData name="Axelsson Jenny" userId="S::jenny.axelsson@inera.se::35153831-a041-4e19-963c-026d50be729b" providerId="AD" clId="Web-{795CDA3E-C0CF-4FFF-BEF9-BBE00B6DFE52}" dt="2022-02-01T13:35:36.279" v="8"/>
        <pc:sldMkLst>
          <pc:docMk/>
          <pc:sldMk cId="2417745813" sldId="332"/>
        </pc:sldMkLst>
      </pc:sldChg>
      <pc:sldChg chg="del">
        <pc:chgData name="Axelsson Jenny" userId="S::jenny.axelsson@inera.se::35153831-a041-4e19-963c-026d50be729b" providerId="AD" clId="Web-{795CDA3E-C0CF-4FFF-BEF9-BBE00B6DFE52}" dt="2022-02-01T13:35:38.216" v="10"/>
        <pc:sldMkLst>
          <pc:docMk/>
          <pc:sldMk cId="3339312327" sldId="333"/>
        </pc:sldMkLst>
      </pc:sldChg>
      <pc:sldChg chg="del">
        <pc:chgData name="Axelsson Jenny" userId="S::jenny.axelsson@inera.se::35153831-a041-4e19-963c-026d50be729b" providerId="AD" clId="Web-{795CDA3E-C0CF-4FFF-BEF9-BBE00B6DFE52}" dt="2022-02-01T13:35:40.388" v="13"/>
        <pc:sldMkLst>
          <pc:docMk/>
          <pc:sldMk cId="3278939599" sldId="334"/>
        </pc:sldMkLst>
      </pc:sldChg>
      <pc:sldChg chg="del">
        <pc:chgData name="Axelsson Jenny" userId="S::jenny.axelsson@inera.se::35153831-a041-4e19-963c-026d50be729b" providerId="AD" clId="Web-{795CDA3E-C0CF-4FFF-BEF9-BBE00B6DFE52}" dt="2022-02-01T13:35:46.451" v="17"/>
        <pc:sldMkLst>
          <pc:docMk/>
          <pc:sldMk cId="2129922634" sldId="336"/>
        </pc:sldMkLst>
      </pc:sldChg>
      <pc:sldChg chg="del">
        <pc:chgData name="Axelsson Jenny" userId="S::jenny.axelsson@inera.se::35153831-a041-4e19-963c-026d50be729b" providerId="AD" clId="Web-{795CDA3E-C0CF-4FFF-BEF9-BBE00B6DFE52}" dt="2022-02-01T13:35:50.810" v="21"/>
        <pc:sldMkLst>
          <pc:docMk/>
          <pc:sldMk cId="4068802719" sldId="337"/>
        </pc:sldMkLst>
      </pc:sldChg>
      <pc:sldChg chg="del">
        <pc:chgData name="Axelsson Jenny" userId="S::jenny.axelsson@inera.se::35153831-a041-4e19-963c-026d50be729b" providerId="AD" clId="Web-{795CDA3E-C0CF-4FFF-BEF9-BBE00B6DFE52}" dt="2022-02-01T13:35:56.420" v="26"/>
        <pc:sldMkLst>
          <pc:docMk/>
          <pc:sldMk cId="590067402" sldId="338"/>
        </pc:sldMkLst>
      </pc:sldChg>
      <pc:sldChg chg="del">
        <pc:chgData name="Axelsson Jenny" userId="S::jenny.axelsson@inera.se::35153831-a041-4e19-963c-026d50be729b" providerId="AD" clId="Web-{795CDA3E-C0CF-4FFF-BEF9-BBE00B6DFE52}" dt="2022-02-01T13:35:58.545" v="28"/>
        <pc:sldMkLst>
          <pc:docMk/>
          <pc:sldMk cId="3663232249" sldId="339"/>
        </pc:sldMkLst>
      </pc:sldChg>
      <pc:sldChg chg="del">
        <pc:chgData name="Axelsson Jenny" userId="S::jenny.axelsson@inera.se::35153831-a041-4e19-963c-026d50be729b" providerId="AD" clId="Web-{795CDA3E-C0CF-4FFF-BEF9-BBE00B6DFE52}" dt="2022-02-01T13:36:07.842" v="31"/>
        <pc:sldMkLst>
          <pc:docMk/>
          <pc:sldMk cId="2503514258" sldId="340"/>
        </pc:sldMkLst>
      </pc:sldChg>
      <pc:sldChg chg="del">
        <pc:chgData name="Axelsson Jenny" userId="S::jenny.axelsson@inera.se::35153831-a041-4e19-963c-026d50be729b" providerId="AD" clId="Web-{795CDA3E-C0CF-4FFF-BEF9-BBE00B6DFE52}" dt="2022-02-01T13:36:04.263" v="29"/>
        <pc:sldMkLst>
          <pc:docMk/>
          <pc:sldMk cId="1349160313" sldId="341"/>
        </pc:sldMkLst>
      </pc:sldChg>
      <pc:sldChg chg="del">
        <pc:chgData name="Axelsson Jenny" userId="S::jenny.axelsson@inera.se::35153831-a041-4e19-963c-026d50be729b" providerId="AD" clId="Web-{795CDA3E-C0CF-4FFF-BEF9-BBE00B6DFE52}" dt="2022-02-01T13:35:39.185" v="11"/>
        <pc:sldMkLst>
          <pc:docMk/>
          <pc:sldMk cId="3838751692" sldId="343"/>
        </pc:sldMkLst>
      </pc:sldChg>
      <pc:sldChg chg="del">
        <pc:chgData name="Axelsson Jenny" userId="S::jenny.axelsson@inera.se::35153831-a041-4e19-963c-026d50be729b" providerId="AD" clId="Web-{795CDA3E-C0CF-4FFF-BEF9-BBE00B6DFE52}" dt="2022-02-01T13:35:39.497" v="12"/>
        <pc:sldMkLst>
          <pc:docMk/>
          <pc:sldMk cId="2951961761" sldId="346"/>
        </pc:sldMkLst>
      </pc:sldChg>
      <pc:sldChg chg="del">
        <pc:chgData name="Axelsson Jenny" userId="S::jenny.axelsson@inera.se::35153831-a041-4e19-963c-026d50be729b" providerId="AD" clId="Web-{795CDA3E-C0CF-4FFF-BEF9-BBE00B6DFE52}" dt="2022-02-01T13:35:44.638" v="15"/>
        <pc:sldMkLst>
          <pc:docMk/>
          <pc:sldMk cId="3818659979" sldId="347"/>
        </pc:sldMkLst>
      </pc:sldChg>
      <pc:sldChg chg="del">
        <pc:chgData name="Axelsson Jenny" userId="S::jenny.axelsson@inera.se::35153831-a041-4e19-963c-026d50be729b" providerId="AD" clId="Web-{795CDA3E-C0CF-4FFF-BEF9-BBE00B6DFE52}" dt="2022-02-01T13:35:45.763" v="16"/>
        <pc:sldMkLst>
          <pc:docMk/>
          <pc:sldMk cId="2737267205" sldId="348"/>
        </pc:sldMkLst>
      </pc:sldChg>
      <pc:sldChg chg="del">
        <pc:chgData name="Axelsson Jenny" userId="S::jenny.axelsson@inera.se::35153831-a041-4e19-963c-026d50be729b" providerId="AD" clId="Web-{795CDA3E-C0CF-4FFF-BEF9-BBE00B6DFE52}" dt="2022-02-01T13:35:51.794" v="22"/>
        <pc:sldMkLst>
          <pc:docMk/>
          <pc:sldMk cId="3801574537" sldId="349"/>
        </pc:sldMkLst>
      </pc:sldChg>
      <pc:sldChg chg="del">
        <pc:chgData name="Axelsson Jenny" userId="S::jenny.axelsson@inera.se::35153831-a041-4e19-963c-026d50be729b" providerId="AD" clId="Web-{795CDA3E-C0CF-4FFF-BEF9-BBE00B6DFE52}" dt="2022-02-01T13:35:52.732" v="23"/>
        <pc:sldMkLst>
          <pc:docMk/>
          <pc:sldMk cId="1287501561" sldId="350"/>
        </pc:sldMkLst>
      </pc:sldChg>
      <pc:sldChg chg="del">
        <pc:chgData name="Axelsson Jenny" userId="S::jenny.axelsson@inera.se::35153831-a041-4e19-963c-026d50be729b" providerId="AD" clId="Web-{795CDA3E-C0CF-4FFF-BEF9-BBE00B6DFE52}" dt="2022-02-01T13:35:54.545" v="25"/>
        <pc:sldMkLst>
          <pc:docMk/>
          <pc:sldMk cId="2992425971" sldId="351"/>
        </pc:sldMkLst>
      </pc:sldChg>
      <pc:sldChg chg="del">
        <pc:chgData name="Axelsson Jenny" userId="S::jenny.axelsson@inera.se::35153831-a041-4e19-963c-026d50be729b" providerId="AD" clId="Web-{795CDA3E-C0CF-4FFF-BEF9-BBE00B6DFE52}" dt="2022-02-01T13:35:53.716" v="24"/>
        <pc:sldMkLst>
          <pc:docMk/>
          <pc:sldMk cId="2584752395" sldId="352"/>
        </pc:sldMkLst>
      </pc:sldChg>
      <pc:sldChg chg="del">
        <pc:chgData name="Axelsson Jenny" userId="S::jenny.axelsson@inera.se::35153831-a041-4e19-963c-026d50be729b" providerId="AD" clId="Web-{795CDA3E-C0CF-4FFF-BEF9-BBE00B6DFE52}" dt="2022-02-01T13:35:34.872" v="7"/>
        <pc:sldMkLst>
          <pc:docMk/>
          <pc:sldMk cId="1079766907" sldId="353"/>
        </pc:sldMkLst>
      </pc:sldChg>
      <pc:sldChg chg="del">
        <pc:chgData name="Axelsson Jenny" userId="S::jenny.axelsson@inera.se::35153831-a041-4e19-963c-026d50be729b" providerId="AD" clId="Web-{795CDA3E-C0CF-4FFF-BEF9-BBE00B6DFE52}" dt="2022-02-01T13:35:37.825" v="9"/>
        <pc:sldMkLst>
          <pc:docMk/>
          <pc:sldMk cId="1371906061" sldId="354"/>
        </pc:sldMkLst>
      </pc:sldChg>
      <pc:sldChg chg="del">
        <pc:chgData name="Axelsson Jenny" userId="S::jenny.axelsson@inera.se::35153831-a041-4e19-963c-026d50be729b" providerId="AD" clId="Web-{795CDA3E-C0CF-4FFF-BEF9-BBE00B6DFE52}" dt="2022-02-01T13:35:57.482" v="27"/>
        <pc:sldMkLst>
          <pc:docMk/>
          <pc:sldMk cId="2581502841" sldId="355"/>
        </pc:sldMkLst>
      </pc:sldChg>
      <pc:sldChg chg="del">
        <pc:chgData name="Axelsson Jenny" userId="S::jenny.axelsson@inera.se::35153831-a041-4e19-963c-026d50be729b" providerId="AD" clId="Web-{795CDA3E-C0CF-4FFF-BEF9-BBE00B6DFE52}" dt="2022-02-01T13:35:47.748" v="18"/>
        <pc:sldMkLst>
          <pc:docMk/>
          <pc:sldMk cId="1852366786" sldId="356"/>
        </pc:sldMkLst>
      </pc:sldChg>
      <pc:sldChg chg="del">
        <pc:chgData name="Axelsson Jenny" userId="S::jenny.axelsson@inera.se::35153831-a041-4e19-963c-026d50be729b" providerId="AD" clId="Web-{795CDA3E-C0CF-4FFF-BEF9-BBE00B6DFE52}" dt="2022-02-01T13:35:48.482" v="19"/>
        <pc:sldMkLst>
          <pc:docMk/>
          <pc:sldMk cId="3101166326" sldId="357"/>
        </pc:sldMkLst>
      </pc:sldChg>
      <pc:sldChg chg="del">
        <pc:chgData name="Axelsson Jenny" userId="S::jenny.axelsson@inera.se::35153831-a041-4e19-963c-026d50be729b" providerId="AD" clId="Web-{795CDA3E-C0CF-4FFF-BEF9-BBE00B6DFE52}" dt="2022-02-01T13:35:49.794" v="20"/>
        <pc:sldMkLst>
          <pc:docMk/>
          <pc:sldMk cId="2598536595" sldId="358"/>
        </pc:sldMkLst>
      </pc:sldChg>
    </pc:docChg>
  </pc:docChgLst>
  <pc:docChgLst>
    <pc:chgData name="Axelsson Jenny" userId="S::jenny.axelsson@inera.se::35153831-a041-4e19-963c-026d50be729b" providerId="AD" clId="Web-{F8EFC69D-BBB0-49C0-878F-F9504599173D}"/>
    <pc:docChg chg="addSld modSld sldOrd">
      <pc:chgData name="Axelsson Jenny" userId="S::jenny.axelsson@inera.se::35153831-a041-4e19-963c-026d50be729b" providerId="AD" clId="Web-{F8EFC69D-BBB0-49C0-878F-F9504599173D}" dt="2022-01-18T15:49:10.644" v="64"/>
      <pc:docMkLst>
        <pc:docMk/>
      </pc:docMkLst>
      <pc:sldChg chg="modSp">
        <pc:chgData name="Axelsson Jenny" userId="S::jenny.axelsson@inera.se::35153831-a041-4e19-963c-026d50be729b" providerId="AD" clId="Web-{F8EFC69D-BBB0-49C0-878F-F9504599173D}" dt="2022-01-18T15:48:53.972" v="63" actId="20577"/>
        <pc:sldMkLst>
          <pc:docMk/>
          <pc:sldMk cId="3738514320" sldId="327"/>
        </pc:sldMkLst>
        <pc:spChg chg="mod">
          <ac:chgData name="Axelsson Jenny" userId="S::jenny.axelsson@inera.se::35153831-a041-4e19-963c-026d50be729b" providerId="AD" clId="Web-{F8EFC69D-BBB0-49C0-878F-F9504599173D}" dt="2022-01-18T15:48:53.972" v="63" actId="20577"/>
          <ac:spMkLst>
            <pc:docMk/>
            <pc:sldMk cId="3738514320" sldId="327"/>
            <ac:spMk id="5" creationId="{BC5C837C-7D53-4E50-BDC1-752E6FCF03A0}"/>
          </ac:spMkLst>
        </pc:spChg>
      </pc:sldChg>
      <pc:sldChg chg="modSp new ord">
        <pc:chgData name="Axelsson Jenny" userId="S::jenny.axelsson@inera.se::35153831-a041-4e19-963c-026d50be729b" providerId="AD" clId="Web-{F8EFC69D-BBB0-49C0-878F-F9504599173D}" dt="2022-01-18T15:49:10.644" v="64"/>
        <pc:sldMkLst>
          <pc:docMk/>
          <pc:sldMk cId="1360158982" sldId="330"/>
        </pc:sldMkLst>
        <pc:spChg chg="mod">
          <ac:chgData name="Axelsson Jenny" userId="S::jenny.axelsson@inera.se::35153831-a041-4e19-963c-026d50be729b" providerId="AD" clId="Web-{F8EFC69D-BBB0-49C0-878F-F9504599173D}" dt="2022-01-18T15:48:26.143" v="50" actId="20577"/>
          <ac:spMkLst>
            <pc:docMk/>
            <pc:sldMk cId="1360158982" sldId="330"/>
            <ac:spMk id="2" creationId="{2B58EA6C-B7A3-4B2C-84F2-E3A5F25A3EDC}"/>
          </ac:spMkLst>
        </pc:spChg>
      </pc:sldChg>
    </pc:docChg>
  </pc:docChgLst>
  <pc:docChgLst>
    <pc:chgData name="Nordqvist Anne-Louise" userId="298fd2ba-5879-4078-9dd0-cb16eef6a860" providerId="ADAL" clId="{FCE9F53D-A95F-40E9-94E0-DC892D68AEDA}"/>
    <pc:docChg chg="undo custSel addSld delSld modSld">
      <pc:chgData name="Nordqvist Anne-Louise" userId="298fd2ba-5879-4078-9dd0-cb16eef6a860" providerId="ADAL" clId="{FCE9F53D-A95F-40E9-94E0-DC892D68AEDA}" dt="2022-01-26T13:59:39.431" v="1352" actId="1076"/>
      <pc:docMkLst>
        <pc:docMk/>
      </pc:docMkLst>
      <pc:sldChg chg="modSp mod">
        <pc:chgData name="Nordqvist Anne-Louise" userId="298fd2ba-5879-4078-9dd0-cb16eef6a860" providerId="ADAL" clId="{FCE9F53D-A95F-40E9-94E0-DC892D68AEDA}" dt="2022-01-26T12:42:24.114" v="268" actId="6549"/>
        <pc:sldMkLst>
          <pc:docMk/>
          <pc:sldMk cId="1371906061" sldId="354"/>
        </pc:sldMkLst>
        <pc:spChg chg="mod">
          <ac:chgData name="Nordqvist Anne-Louise" userId="298fd2ba-5879-4078-9dd0-cb16eef6a860" providerId="ADAL" clId="{FCE9F53D-A95F-40E9-94E0-DC892D68AEDA}" dt="2022-01-26T12:38:21.984" v="10" actId="20577"/>
          <ac:spMkLst>
            <pc:docMk/>
            <pc:sldMk cId="1371906061" sldId="354"/>
            <ac:spMk id="2" creationId="{EB6CA5B0-6D2F-4383-B3E8-886F5B731907}"/>
          </ac:spMkLst>
        </pc:spChg>
        <pc:spChg chg="mod">
          <ac:chgData name="Nordqvist Anne-Louise" userId="298fd2ba-5879-4078-9dd0-cb16eef6a860" providerId="ADAL" clId="{FCE9F53D-A95F-40E9-94E0-DC892D68AEDA}" dt="2022-01-26T12:42:24.114" v="268" actId="6549"/>
          <ac:spMkLst>
            <pc:docMk/>
            <pc:sldMk cId="1371906061" sldId="354"/>
            <ac:spMk id="3" creationId="{6C1B4C16-DD8B-4F29-BBCD-BE86B33D401F}"/>
          </ac:spMkLst>
        </pc:spChg>
      </pc:sldChg>
      <pc:sldChg chg="addSp delSp modSp mod">
        <pc:chgData name="Nordqvist Anne-Louise" userId="298fd2ba-5879-4078-9dd0-cb16eef6a860" providerId="ADAL" clId="{FCE9F53D-A95F-40E9-94E0-DC892D68AEDA}" dt="2022-01-26T13:59:39.431" v="1352" actId="1076"/>
        <pc:sldMkLst>
          <pc:docMk/>
          <pc:sldMk cId="1852366786" sldId="356"/>
        </pc:sldMkLst>
        <pc:spChg chg="mod">
          <ac:chgData name="Nordqvist Anne-Louise" userId="298fd2ba-5879-4078-9dd0-cb16eef6a860" providerId="ADAL" clId="{FCE9F53D-A95F-40E9-94E0-DC892D68AEDA}" dt="2022-01-26T12:47:00.735" v="283" actId="20577"/>
          <ac:spMkLst>
            <pc:docMk/>
            <pc:sldMk cId="1852366786" sldId="356"/>
            <ac:spMk id="2" creationId="{EB6CA5B0-6D2F-4383-B3E8-886F5B731907}"/>
          </ac:spMkLst>
        </pc:spChg>
        <pc:spChg chg="mod">
          <ac:chgData name="Nordqvist Anne-Louise" userId="298fd2ba-5879-4078-9dd0-cb16eef6a860" providerId="ADAL" clId="{FCE9F53D-A95F-40E9-94E0-DC892D68AEDA}" dt="2022-01-26T13:59:39.431" v="1352" actId="1076"/>
          <ac:spMkLst>
            <pc:docMk/>
            <pc:sldMk cId="1852366786" sldId="356"/>
            <ac:spMk id="3" creationId="{6C1B4C16-DD8B-4F29-BBCD-BE86B33D401F}"/>
          </ac:spMkLst>
        </pc:spChg>
        <pc:spChg chg="add del">
          <ac:chgData name="Nordqvist Anne-Louise" userId="298fd2ba-5879-4078-9dd0-cb16eef6a860" providerId="ADAL" clId="{FCE9F53D-A95F-40E9-94E0-DC892D68AEDA}" dt="2022-01-26T12:53:13.074" v="606" actId="22"/>
          <ac:spMkLst>
            <pc:docMk/>
            <pc:sldMk cId="1852366786" sldId="356"/>
            <ac:spMk id="7" creationId="{F6942A72-139C-42C6-A505-4C1379BF5FE1}"/>
          </ac:spMkLst>
        </pc:spChg>
      </pc:sldChg>
      <pc:sldChg chg="addSp delSp modSp add mod">
        <pc:chgData name="Nordqvist Anne-Louise" userId="298fd2ba-5879-4078-9dd0-cb16eef6a860" providerId="ADAL" clId="{FCE9F53D-A95F-40E9-94E0-DC892D68AEDA}" dt="2022-01-26T13:49:24.328" v="1045" actId="1076"/>
        <pc:sldMkLst>
          <pc:docMk/>
          <pc:sldMk cId="3101166326" sldId="357"/>
        </pc:sldMkLst>
        <pc:spChg chg="del mod">
          <ac:chgData name="Nordqvist Anne-Louise" userId="298fd2ba-5879-4078-9dd0-cb16eef6a860" providerId="ADAL" clId="{FCE9F53D-A95F-40E9-94E0-DC892D68AEDA}" dt="2022-01-26T12:55:33.699" v="609" actId="22"/>
          <ac:spMkLst>
            <pc:docMk/>
            <pc:sldMk cId="3101166326" sldId="357"/>
            <ac:spMk id="3" creationId="{6C1B4C16-DD8B-4F29-BBCD-BE86B33D401F}"/>
          </ac:spMkLst>
        </pc:spChg>
        <pc:spChg chg="add mod">
          <ac:chgData name="Nordqvist Anne-Louise" userId="298fd2ba-5879-4078-9dd0-cb16eef6a860" providerId="ADAL" clId="{FCE9F53D-A95F-40E9-94E0-DC892D68AEDA}" dt="2022-01-26T13:48:44.146" v="1044" actId="20577"/>
          <ac:spMkLst>
            <pc:docMk/>
            <pc:sldMk cId="3101166326" sldId="357"/>
            <ac:spMk id="3" creationId="{FD1B3562-30F7-4CDD-83B2-4B71E0230269}"/>
          </ac:spMkLst>
        </pc:spChg>
        <pc:picChg chg="add mod ord">
          <ac:chgData name="Nordqvist Anne-Louise" userId="298fd2ba-5879-4078-9dd0-cb16eef6a860" providerId="ADAL" clId="{FCE9F53D-A95F-40E9-94E0-DC892D68AEDA}" dt="2022-01-26T13:49:24.328" v="1045" actId="1076"/>
          <ac:picMkLst>
            <pc:docMk/>
            <pc:sldMk cId="3101166326" sldId="357"/>
            <ac:picMk id="7" creationId="{3D0D6E68-4DBF-4B4C-839C-E6EB43CEC826}"/>
          </ac:picMkLst>
        </pc:picChg>
        <pc:picChg chg="add del">
          <ac:chgData name="Nordqvist Anne-Louise" userId="298fd2ba-5879-4078-9dd0-cb16eef6a860" providerId="ADAL" clId="{FCE9F53D-A95F-40E9-94E0-DC892D68AEDA}" dt="2022-01-26T13:10:23.379" v="612" actId="22"/>
          <ac:picMkLst>
            <pc:docMk/>
            <pc:sldMk cId="3101166326" sldId="357"/>
            <ac:picMk id="9" creationId="{980E282B-92B9-4175-B846-F5AFE641DA43}"/>
          </ac:picMkLst>
        </pc:picChg>
      </pc:sldChg>
      <pc:sldChg chg="addSp delSp modSp add mod">
        <pc:chgData name="Nordqvist Anne-Louise" userId="298fd2ba-5879-4078-9dd0-cb16eef6a860" providerId="ADAL" clId="{FCE9F53D-A95F-40E9-94E0-DC892D68AEDA}" dt="2022-01-26T13:53:04.408" v="1351" actId="14100"/>
        <pc:sldMkLst>
          <pc:docMk/>
          <pc:sldMk cId="2598536595" sldId="358"/>
        </pc:sldMkLst>
        <pc:spChg chg="add mod">
          <ac:chgData name="Nordqvist Anne-Louise" userId="298fd2ba-5879-4078-9dd0-cb16eef6a860" providerId="ADAL" clId="{FCE9F53D-A95F-40E9-94E0-DC892D68AEDA}" dt="2022-01-26T13:50:56.849" v="1274" actId="20577"/>
          <ac:spMkLst>
            <pc:docMk/>
            <pc:sldMk cId="2598536595" sldId="358"/>
            <ac:spMk id="6" creationId="{4980BB5A-DFAA-4F3F-93CA-DC2BAAD3A0BB}"/>
          </ac:spMkLst>
        </pc:spChg>
        <pc:spChg chg="add del mod">
          <ac:chgData name="Nordqvist Anne-Louise" userId="298fd2ba-5879-4078-9dd0-cb16eef6a860" providerId="ADAL" clId="{FCE9F53D-A95F-40E9-94E0-DC892D68AEDA}" dt="2022-01-26T13:52:48.308" v="1346" actId="478"/>
          <ac:spMkLst>
            <pc:docMk/>
            <pc:sldMk cId="2598536595" sldId="358"/>
            <ac:spMk id="8" creationId="{30FF9ED3-5C7A-4C67-9B71-860754DD7D78}"/>
          </ac:spMkLst>
        </pc:spChg>
        <pc:picChg chg="add mod">
          <ac:chgData name="Nordqvist Anne-Louise" userId="298fd2ba-5879-4078-9dd0-cb16eef6a860" providerId="ADAL" clId="{FCE9F53D-A95F-40E9-94E0-DC892D68AEDA}" dt="2022-01-26T13:53:04.408" v="1351" actId="14100"/>
          <ac:picMkLst>
            <pc:docMk/>
            <pc:sldMk cId="2598536595" sldId="358"/>
            <ac:picMk id="7" creationId="{213360F3-38A0-42D5-AE41-3F6E242ED5EB}"/>
          </ac:picMkLst>
        </pc:picChg>
        <pc:picChg chg="del">
          <ac:chgData name="Nordqvist Anne-Louise" userId="298fd2ba-5879-4078-9dd0-cb16eef6a860" providerId="ADAL" clId="{FCE9F53D-A95F-40E9-94E0-DC892D68AEDA}" dt="2022-01-26T13:10:42.455" v="614" actId="478"/>
          <ac:picMkLst>
            <pc:docMk/>
            <pc:sldMk cId="2598536595" sldId="358"/>
            <ac:picMk id="7" creationId="{3D0D6E68-4DBF-4B4C-839C-E6EB43CEC826}"/>
          </ac:picMkLst>
        </pc:picChg>
      </pc:sldChg>
      <pc:sldChg chg="new del">
        <pc:chgData name="Nordqvist Anne-Louise" userId="298fd2ba-5879-4078-9dd0-cb16eef6a860" providerId="ADAL" clId="{FCE9F53D-A95F-40E9-94E0-DC892D68AEDA}" dt="2022-01-26T13:51:05.103" v="1276" actId="680"/>
        <pc:sldMkLst>
          <pc:docMk/>
          <pc:sldMk cId="2076248867" sldId="359"/>
        </pc:sldMkLst>
      </pc:sldChg>
    </pc:docChg>
  </pc:docChgLst>
  <pc:docChgLst>
    <pc:chgData name="Axelsson Jenny" userId="35153831-a041-4e19-963c-026d50be729b" providerId="ADAL" clId="{45BF04A9-1534-43B6-9FE2-C4AAEAF0B80B}"/>
    <pc:docChg chg="undo custSel addSld delSld modSld sldOrd addMainMaster modMainMaster">
      <pc:chgData name="Axelsson Jenny" userId="35153831-a041-4e19-963c-026d50be729b" providerId="ADAL" clId="{45BF04A9-1534-43B6-9FE2-C4AAEAF0B80B}" dt="2022-04-19T12:21:21.843" v="281" actId="20577"/>
      <pc:docMkLst>
        <pc:docMk/>
      </pc:docMkLst>
      <pc:sldChg chg="add del">
        <pc:chgData name="Axelsson Jenny" userId="35153831-a041-4e19-963c-026d50be729b" providerId="ADAL" clId="{45BF04A9-1534-43B6-9FE2-C4AAEAF0B80B}" dt="2022-04-19T11:00:15.827" v="84"/>
        <pc:sldMkLst>
          <pc:docMk/>
          <pc:sldMk cId="764891389" sldId="256"/>
        </pc:sldMkLst>
      </pc:sldChg>
      <pc:sldChg chg="modSp add del">
        <pc:chgData name="Axelsson Jenny" userId="35153831-a041-4e19-963c-026d50be729b" providerId="ADAL" clId="{45BF04A9-1534-43B6-9FE2-C4AAEAF0B80B}" dt="2022-04-19T11:00:15.827" v="84"/>
        <pc:sldMkLst>
          <pc:docMk/>
          <pc:sldMk cId="820098474" sldId="260"/>
        </pc:sldMkLst>
        <pc:spChg chg="mod">
          <ac:chgData name="Axelsson Jenny" userId="35153831-a041-4e19-963c-026d50be729b" providerId="ADAL" clId="{45BF04A9-1534-43B6-9FE2-C4AAEAF0B80B}" dt="2022-04-19T10:59:56.031" v="80"/>
          <ac:spMkLst>
            <pc:docMk/>
            <pc:sldMk cId="820098474" sldId="260"/>
            <ac:spMk id="4" creationId="{0D85DBCC-0237-4025-B463-E52420A06E06}"/>
          </ac:spMkLst>
        </pc:spChg>
      </pc:sldChg>
      <pc:sldChg chg="modSp add del">
        <pc:chgData name="Axelsson Jenny" userId="35153831-a041-4e19-963c-026d50be729b" providerId="ADAL" clId="{45BF04A9-1534-43B6-9FE2-C4AAEAF0B80B}" dt="2022-04-19T11:00:15.827" v="84"/>
        <pc:sldMkLst>
          <pc:docMk/>
          <pc:sldMk cId="889137311" sldId="261"/>
        </pc:sldMkLst>
        <pc:spChg chg="mod">
          <ac:chgData name="Axelsson Jenny" userId="35153831-a041-4e19-963c-026d50be729b" providerId="ADAL" clId="{45BF04A9-1534-43B6-9FE2-C4AAEAF0B80B}" dt="2022-04-19T10:59:56.031" v="80"/>
          <ac:spMkLst>
            <pc:docMk/>
            <pc:sldMk cId="889137311" sldId="261"/>
            <ac:spMk id="4" creationId="{31BC725B-0D54-457F-857C-0CD34F2DE18B}"/>
          </ac:spMkLst>
        </pc:spChg>
      </pc:sldChg>
      <pc:sldChg chg="modSp mod">
        <pc:chgData name="Axelsson Jenny" userId="35153831-a041-4e19-963c-026d50be729b" providerId="ADAL" clId="{45BF04A9-1534-43B6-9FE2-C4AAEAF0B80B}" dt="2022-04-19T10:58:11.625" v="53" actId="6549"/>
        <pc:sldMkLst>
          <pc:docMk/>
          <pc:sldMk cId="1036871477" sldId="264"/>
        </pc:sldMkLst>
        <pc:spChg chg="mod">
          <ac:chgData name="Axelsson Jenny" userId="35153831-a041-4e19-963c-026d50be729b" providerId="ADAL" clId="{45BF04A9-1534-43B6-9FE2-C4AAEAF0B80B}" dt="2022-04-19T10:58:11.625" v="53" actId="6549"/>
          <ac:spMkLst>
            <pc:docMk/>
            <pc:sldMk cId="1036871477" sldId="264"/>
            <ac:spMk id="3" creationId="{3E215758-AD04-4783-8B7A-EA30D128D138}"/>
          </ac:spMkLst>
        </pc:spChg>
      </pc:sldChg>
      <pc:sldChg chg="modSp add del">
        <pc:chgData name="Axelsson Jenny" userId="35153831-a041-4e19-963c-026d50be729b" providerId="ADAL" clId="{45BF04A9-1534-43B6-9FE2-C4AAEAF0B80B}" dt="2022-04-19T11:00:15.827" v="84"/>
        <pc:sldMkLst>
          <pc:docMk/>
          <pc:sldMk cId="1573803966" sldId="265"/>
        </pc:sldMkLst>
        <pc:spChg chg="mod">
          <ac:chgData name="Axelsson Jenny" userId="35153831-a041-4e19-963c-026d50be729b" providerId="ADAL" clId="{45BF04A9-1534-43B6-9FE2-C4AAEAF0B80B}" dt="2022-04-19T10:59:56.031" v="80"/>
          <ac:spMkLst>
            <pc:docMk/>
            <pc:sldMk cId="1573803966" sldId="265"/>
            <ac:spMk id="4" creationId="{BA9B7D03-0A91-4893-B1B3-69D2FEE9E5C8}"/>
          </ac:spMkLst>
        </pc:spChg>
      </pc:sldChg>
      <pc:sldChg chg="modSp add del mod">
        <pc:chgData name="Axelsson Jenny" userId="35153831-a041-4e19-963c-026d50be729b" providerId="ADAL" clId="{45BF04A9-1534-43B6-9FE2-C4AAEAF0B80B}" dt="2022-04-19T11:00:15.827" v="84"/>
        <pc:sldMkLst>
          <pc:docMk/>
          <pc:sldMk cId="1645728080" sldId="266"/>
        </pc:sldMkLst>
        <pc:spChg chg="mod">
          <ac:chgData name="Axelsson Jenny" userId="35153831-a041-4e19-963c-026d50be729b" providerId="ADAL" clId="{45BF04A9-1534-43B6-9FE2-C4AAEAF0B80B}" dt="2022-04-19T11:00:15.827" v="84"/>
          <ac:spMkLst>
            <pc:docMk/>
            <pc:sldMk cId="1645728080" sldId="266"/>
            <ac:spMk id="2" creationId="{918C5A70-247D-4B65-9738-F9988020228C}"/>
          </ac:spMkLst>
        </pc:spChg>
        <pc:spChg chg="mod">
          <ac:chgData name="Axelsson Jenny" userId="35153831-a041-4e19-963c-026d50be729b" providerId="ADAL" clId="{45BF04A9-1534-43B6-9FE2-C4AAEAF0B80B}" dt="2022-04-19T10:59:56.031" v="80"/>
          <ac:spMkLst>
            <pc:docMk/>
            <pc:sldMk cId="1645728080" sldId="266"/>
            <ac:spMk id="4" creationId="{E8A2EDC8-51B2-4F82-88C0-1DD1C2CB314E}"/>
          </ac:spMkLst>
        </pc:spChg>
      </pc:sldChg>
      <pc:sldChg chg="modSp mod">
        <pc:chgData name="Axelsson Jenny" userId="35153831-a041-4e19-963c-026d50be729b" providerId="ADAL" clId="{45BF04A9-1534-43B6-9FE2-C4AAEAF0B80B}" dt="2022-04-19T12:21:09.356" v="266" actId="20577"/>
        <pc:sldMkLst>
          <pc:docMk/>
          <pc:sldMk cId="2974578957" sldId="312"/>
        </pc:sldMkLst>
        <pc:spChg chg="mod">
          <ac:chgData name="Axelsson Jenny" userId="35153831-a041-4e19-963c-026d50be729b" providerId="ADAL" clId="{45BF04A9-1534-43B6-9FE2-C4AAEAF0B80B}" dt="2022-04-19T12:21:09.356" v="266" actId="20577"/>
          <ac:spMkLst>
            <pc:docMk/>
            <pc:sldMk cId="2974578957" sldId="312"/>
            <ac:spMk id="4" creationId="{7C3A8192-81A1-4B54-8CE2-055E1C43C19C}"/>
          </ac:spMkLst>
        </pc:spChg>
      </pc:sldChg>
      <pc:sldChg chg="modSp mod">
        <pc:chgData name="Axelsson Jenny" userId="35153831-a041-4e19-963c-026d50be729b" providerId="ADAL" clId="{45BF04A9-1534-43B6-9FE2-C4AAEAF0B80B}" dt="2022-04-19T12:08:53.102" v="117" actId="20577"/>
        <pc:sldMkLst>
          <pc:docMk/>
          <pc:sldMk cId="3738514320" sldId="327"/>
        </pc:sldMkLst>
        <pc:spChg chg="mod">
          <ac:chgData name="Axelsson Jenny" userId="35153831-a041-4e19-963c-026d50be729b" providerId="ADAL" clId="{45BF04A9-1534-43B6-9FE2-C4AAEAF0B80B}" dt="2022-04-19T12:08:53.102" v="117" actId="20577"/>
          <ac:spMkLst>
            <pc:docMk/>
            <pc:sldMk cId="3738514320" sldId="327"/>
            <ac:spMk id="5" creationId="{BC5C837C-7D53-4E50-BDC1-752E6FCF03A0}"/>
          </ac:spMkLst>
        </pc:spChg>
      </pc:sldChg>
      <pc:sldChg chg="modSp mod">
        <pc:chgData name="Axelsson Jenny" userId="35153831-a041-4e19-963c-026d50be729b" providerId="ADAL" clId="{45BF04A9-1534-43B6-9FE2-C4AAEAF0B80B}" dt="2022-04-19T12:12:39.799" v="119" actId="113"/>
        <pc:sldMkLst>
          <pc:docMk/>
          <pc:sldMk cId="4158201782" sldId="328"/>
        </pc:sldMkLst>
        <pc:spChg chg="mod">
          <ac:chgData name="Axelsson Jenny" userId="35153831-a041-4e19-963c-026d50be729b" providerId="ADAL" clId="{45BF04A9-1534-43B6-9FE2-C4AAEAF0B80B}" dt="2022-04-19T12:12:39.799" v="119" actId="113"/>
          <ac:spMkLst>
            <pc:docMk/>
            <pc:sldMk cId="4158201782" sldId="328"/>
            <ac:spMk id="5" creationId="{BC5C837C-7D53-4E50-BDC1-752E6FCF03A0}"/>
          </ac:spMkLst>
        </pc:spChg>
      </pc:sldChg>
      <pc:sldChg chg="modSp add mod">
        <pc:chgData name="Axelsson Jenny" userId="35153831-a041-4e19-963c-026d50be729b" providerId="ADAL" clId="{45BF04A9-1534-43B6-9FE2-C4AAEAF0B80B}" dt="2022-04-19T12:12:58.654" v="125" actId="113"/>
        <pc:sldMkLst>
          <pc:docMk/>
          <pc:sldMk cId="3889687031" sldId="329"/>
        </pc:sldMkLst>
        <pc:spChg chg="mod">
          <ac:chgData name="Axelsson Jenny" userId="35153831-a041-4e19-963c-026d50be729b" providerId="ADAL" clId="{45BF04A9-1534-43B6-9FE2-C4AAEAF0B80B}" dt="2022-04-19T12:12:58.654" v="125" actId="113"/>
          <ac:spMkLst>
            <pc:docMk/>
            <pc:sldMk cId="3889687031" sldId="329"/>
            <ac:spMk id="5" creationId="{BC5C837C-7D53-4E50-BDC1-752E6FCF03A0}"/>
          </ac:spMkLst>
        </pc:spChg>
      </pc:sldChg>
      <pc:sldChg chg="modSp add mod">
        <pc:chgData name="Axelsson Jenny" userId="35153831-a041-4e19-963c-026d50be729b" providerId="ADAL" clId="{45BF04A9-1534-43B6-9FE2-C4AAEAF0B80B}" dt="2022-04-19T12:13:08.662" v="128" actId="113"/>
        <pc:sldMkLst>
          <pc:docMk/>
          <pc:sldMk cId="2020359440" sldId="330"/>
        </pc:sldMkLst>
        <pc:spChg chg="mod">
          <ac:chgData name="Axelsson Jenny" userId="35153831-a041-4e19-963c-026d50be729b" providerId="ADAL" clId="{45BF04A9-1534-43B6-9FE2-C4AAEAF0B80B}" dt="2022-04-19T12:13:08.662" v="128" actId="113"/>
          <ac:spMkLst>
            <pc:docMk/>
            <pc:sldMk cId="2020359440" sldId="330"/>
            <ac:spMk id="5" creationId="{BC5C837C-7D53-4E50-BDC1-752E6FCF03A0}"/>
          </ac:spMkLst>
        </pc:spChg>
      </pc:sldChg>
      <pc:sldChg chg="modSp add mod">
        <pc:chgData name="Axelsson Jenny" userId="35153831-a041-4e19-963c-026d50be729b" providerId="ADAL" clId="{45BF04A9-1534-43B6-9FE2-C4AAEAF0B80B}" dt="2022-04-19T12:13:19.886" v="131" actId="113"/>
        <pc:sldMkLst>
          <pc:docMk/>
          <pc:sldMk cId="3981310401" sldId="331"/>
        </pc:sldMkLst>
        <pc:spChg chg="mod">
          <ac:chgData name="Axelsson Jenny" userId="35153831-a041-4e19-963c-026d50be729b" providerId="ADAL" clId="{45BF04A9-1534-43B6-9FE2-C4AAEAF0B80B}" dt="2022-04-19T12:13:19.886" v="131" actId="113"/>
          <ac:spMkLst>
            <pc:docMk/>
            <pc:sldMk cId="3981310401" sldId="331"/>
            <ac:spMk id="5" creationId="{BC5C837C-7D53-4E50-BDC1-752E6FCF03A0}"/>
          </ac:spMkLst>
        </pc:spChg>
      </pc:sldChg>
      <pc:sldChg chg="modSp new mod">
        <pc:chgData name="Axelsson Jenny" userId="35153831-a041-4e19-963c-026d50be729b" providerId="ADAL" clId="{45BF04A9-1534-43B6-9FE2-C4AAEAF0B80B}" dt="2022-04-19T12:13:51.770" v="216" actId="6549"/>
        <pc:sldMkLst>
          <pc:docMk/>
          <pc:sldMk cId="4230818810" sldId="332"/>
        </pc:sldMkLst>
        <pc:spChg chg="mod">
          <ac:chgData name="Axelsson Jenny" userId="35153831-a041-4e19-963c-026d50be729b" providerId="ADAL" clId="{45BF04A9-1534-43B6-9FE2-C4AAEAF0B80B}" dt="2022-04-19T12:13:42.883" v="214" actId="20577"/>
          <ac:spMkLst>
            <pc:docMk/>
            <pc:sldMk cId="4230818810" sldId="332"/>
            <ac:spMk id="2" creationId="{576840DE-D0FF-4145-843F-B1AB943A3D65}"/>
          </ac:spMkLst>
        </pc:spChg>
        <pc:spChg chg="mod">
          <ac:chgData name="Axelsson Jenny" userId="35153831-a041-4e19-963c-026d50be729b" providerId="ADAL" clId="{45BF04A9-1534-43B6-9FE2-C4AAEAF0B80B}" dt="2022-04-19T12:13:51.770" v="216" actId="6549"/>
          <ac:spMkLst>
            <pc:docMk/>
            <pc:sldMk cId="4230818810" sldId="332"/>
            <ac:spMk id="3" creationId="{8F0BB36F-BDC0-4C02-A2FD-EB8CEA53D633}"/>
          </ac:spMkLst>
        </pc:spChg>
      </pc:sldChg>
      <pc:sldChg chg="add del ord">
        <pc:chgData name="Axelsson Jenny" userId="35153831-a041-4e19-963c-026d50be729b" providerId="ADAL" clId="{45BF04A9-1534-43B6-9FE2-C4AAEAF0B80B}" dt="2022-04-19T12:20:34.780" v="262"/>
        <pc:sldMkLst>
          <pc:docMk/>
          <pc:sldMk cId="764891389" sldId="333"/>
        </pc:sldMkLst>
      </pc:sldChg>
      <pc:sldChg chg="modSp add del mod ord">
        <pc:chgData name="Axelsson Jenny" userId="35153831-a041-4e19-963c-026d50be729b" providerId="ADAL" clId="{45BF04A9-1534-43B6-9FE2-C4AAEAF0B80B}" dt="2022-04-19T12:20:34.780" v="262"/>
        <pc:sldMkLst>
          <pc:docMk/>
          <pc:sldMk cId="4103686309" sldId="334"/>
        </pc:sldMkLst>
        <pc:spChg chg="mod">
          <ac:chgData name="Axelsson Jenny" userId="35153831-a041-4e19-963c-026d50be729b" providerId="ADAL" clId="{45BF04A9-1534-43B6-9FE2-C4AAEAF0B80B}" dt="2022-04-19T12:20:04.779" v="235" actId="27636"/>
          <ac:spMkLst>
            <pc:docMk/>
            <pc:sldMk cId="4103686309" sldId="334"/>
            <ac:spMk id="2" creationId="{00000000-0000-0000-0000-000000000000}"/>
          </ac:spMkLst>
        </pc:spChg>
      </pc:sldChg>
      <pc:sldChg chg="add del ord">
        <pc:chgData name="Axelsson Jenny" userId="35153831-a041-4e19-963c-026d50be729b" providerId="ADAL" clId="{45BF04A9-1534-43B6-9FE2-C4AAEAF0B80B}" dt="2022-04-19T12:20:34.780" v="262"/>
        <pc:sldMkLst>
          <pc:docMk/>
          <pc:sldMk cId="820098474" sldId="335"/>
        </pc:sldMkLst>
      </pc:sldChg>
      <pc:sldChg chg="add del ord">
        <pc:chgData name="Axelsson Jenny" userId="35153831-a041-4e19-963c-026d50be729b" providerId="ADAL" clId="{45BF04A9-1534-43B6-9FE2-C4AAEAF0B80B}" dt="2022-04-19T12:20:34.780" v="262"/>
        <pc:sldMkLst>
          <pc:docMk/>
          <pc:sldMk cId="889137311" sldId="336"/>
        </pc:sldMkLst>
      </pc:sldChg>
      <pc:sldChg chg="add del ord">
        <pc:chgData name="Axelsson Jenny" userId="35153831-a041-4e19-963c-026d50be729b" providerId="ADAL" clId="{45BF04A9-1534-43B6-9FE2-C4AAEAF0B80B}" dt="2022-04-19T12:20:34.780" v="262"/>
        <pc:sldMkLst>
          <pc:docMk/>
          <pc:sldMk cId="2354291851" sldId="337"/>
        </pc:sldMkLst>
      </pc:sldChg>
      <pc:sldChg chg="add del ord">
        <pc:chgData name="Axelsson Jenny" userId="35153831-a041-4e19-963c-026d50be729b" providerId="ADAL" clId="{45BF04A9-1534-43B6-9FE2-C4AAEAF0B80B}" dt="2022-04-19T12:20:34.780" v="262"/>
        <pc:sldMkLst>
          <pc:docMk/>
          <pc:sldMk cId="1662282722" sldId="338"/>
        </pc:sldMkLst>
      </pc:sldChg>
      <pc:sldChg chg="modSp add del mod ord">
        <pc:chgData name="Axelsson Jenny" userId="35153831-a041-4e19-963c-026d50be729b" providerId="ADAL" clId="{45BF04A9-1534-43B6-9FE2-C4AAEAF0B80B}" dt="2022-04-19T12:20:34.780" v="262"/>
        <pc:sldMkLst>
          <pc:docMk/>
          <pc:sldMk cId="1645728080" sldId="339"/>
        </pc:sldMkLst>
        <pc:spChg chg="mod">
          <ac:chgData name="Axelsson Jenny" userId="35153831-a041-4e19-963c-026d50be729b" providerId="ADAL" clId="{45BF04A9-1534-43B6-9FE2-C4AAEAF0B80B}" dt="2022-04-19T12:20:16.481" v="260" actId="27636"/>
          <ac:spMkLst>
            <pc:docMk/>
            <pc:sldMk cId="1645728080" sldId="339"/>
            <ac:spMk id="2" creationId="{918C5A70-247D-4B65-9738-F9988020228C}"/>
          </ac:spMkLst>
        </pc:spChg>
      </pc:sldChg>
      <pc:sldChg chg="add del ord">
        <pc:chgData name="Axelsson Jenny" userId="35153831-a041-4e19-963c-026d50be729b" providerId="ADAL" clId="{45BF04A9-1534-43B6-9FE2-C4AAEAF0B80B}" dt="2022-04-19T12:20:34.780" v="262"/>
        <pc:sldMkLst>
          <pc:docMk/>
          <pc:sldMk cId="1573803966" sldId="340"/>
        </pc:sldMkLst>
      </pc:sldChg>
      <pc:sldChg chg="modSp new mod">
        <pc:chgData name="Axelsson Jenny" userId="35153831-a041-4e19-963c-026d50be729b" providerId="ADAL" clId="{45BF04A9-1534-43B6-9FE2-C4AAEAF0B80B}" dt="2022-04-19T12:21:21.843" v="281" actId="20577"/>
        <pc:sldMkLst>
          <pc:docMk/>
          <pc:sldMk cId="2742915980" sldId="341"/>
        </pc:sldMkLst>
        <pc:spChg chg="mod">
          <ac:chgData name="Axelsson Jenny" userId="35153831-a041-4e19-963c-026d50be729b" providerId="ADAL" clId="{45BF04A9-1534-43B6-9FE2-C4AAEAF0B80B}" dt="2022-04-19T12:21:21.843" v="281" actId="20577"/>
          <ac:spMkLst>
            <pc:docMk/>
            <pc:sldMk cId="2742915980" sldId="341"/>
            <ac:spMk id="2" creationId="{E4B2BEF8-01CD-4A03-9D30-20586E8F99A3}"/>
          </ac:spMkLst>
        </pc:spChg>
      </pc:sldChg>
      <pc:sldChg chg="del">
        <pc:chgData name="Axelsson Jenny" userId="35153831-a041-4e19-963c-026d50be729b" providerId="ADAL" clId="{45BF04A9-1534-43B6-9FE2-C4AAEAF0B80B}" dt="2022-04-19T12:12:44.792" v="120" actId="47"/>
        <pc:sldMkLst>
          <pc:docMk/>
          <pc:sldMk cId="4191591904" sldId="343"/>
        </pc:sldMkLst>
      </pc:sldChg>
      <pc:sldChg chg="del">
        <pc:chgData name="Axelsson Jenny" userId="35153831-a041-4e19-963c-026d50be729b" providerId="ADAL" clId="{45BF04A9-1534-43B6-9FE2-C4AAEAF0B80B}" dt="2022-04-19T12:12:48.374" v="122" actId="47"/>
        <pc:sldMkLst>
          <pc:docMk/>
          <pc:sldMk cId="1961555816" sldId="345"/>
        </pc:sldMkLst>
      </pc:sldChg>
      <pc:sldChg chg="del">
        <pc:chgData name="Axelsson Jenny" userId="35153831-a041-4e19-963c-026d50be729b" providerId="ADAL" clId="{45BF04A9-1534-43B6-9FE2-C4AAEAF0B80B}" dt="2022-04-19T12:12:46.992" v="121" actId="47"/>
        <pc:sldMkLst>
          <pc:docMk/>
          <pc:sldMk cId="128778050" sldId="348"/>
        </pc:sldMkLst>
      </pc:sldChg>
      <pc:sldChg chg="modSp add del mod">
        <pc:chgData name="Axelsson Jenny" userId="35153831-a041-4e19-963c-026d50be729b" providerId="ADAL" clId="{45BF04A9-1534-43B6-9FE2-C4AAEAF0B80B}" dt="2022-04-19T11:00:15.827" v="84"/>
        <pc:sldMkLst>
          <pc:docMk/>
          <pc:sldMk cId="4103686309" sldId="349"/>
        </pc:sldMkLst>
        <pc:spChg chg="mod">
          <ac:chgData name="Axelsson Jenny" userId="35153831-a041-4e19-963c-026d50be729b" providerId="ADAL" clId="{45BF04A9-1534-43B6-9FE2-C4AAEAF0B80B}" dt="2022-04-19T11:00:15.827" v="84"/>
          <ac:spMkLst>
            <pc:docMk/>
            <pc:sldMk cId="4103686309" sldId="349"/>
            <ac:spMk id="2" creationId="{00000000-0000-0000-0000-000000000000}"/>
          </ac:spMkLst>
        </pc:spChg>
        <pc:spChg chg="mod">
          <ac:chgData name="Axelsson Jenny" userId="35153831-a041-4e19-963c-026d50be729b" providerId="ADAL" clId="{45BF04A9-1534-43B6-9FE2-C4AAEAF0B80B}" dt="2022-04-19T10:59:56.031" v="80"/>
          <ac:spMkLst>
            <pc:docMk/>
            <pc:sldMk cId="4103686309" sldId="349"/>
            <ac:spMk id="4" creationId="{00000000-0000-0000-0000-000000000000}"/>
          </ac:spMkLst>
        </pc:spChg>
      </pc:sldChg>
      <pc:sldChg chg="modSp add del">
        <pc:chgData name="Axelsson Jenny" userId="35153831-a041-4e19-963c-026d50be729b" providerId="ADAL" clId="{45BF04A9-1534-43B6-9FE2-C4AAEAF0B80B}" dt="2022-04-19T11:00:15.827" v="84"/>
        <pc:sldMkLst>
          <pc:docMk/>
          <pc:sldMk cId="2354291851" sldId="350"/>
        </pc:sldMkLst>
        <pc:spChg chg="mod">
          <ac:chgData name="Axelsson Jenny" userId="35153831-a041-4e19-963c-026d50be729b" providerId="ADAL" clId="{45BF04A9-1534-43B6-9FE2-C4AAEAF0B80B}" dt="2022-04-19T10:59:56.031" v="80"/>
          <ac:spMkLst>
            <pc:docMk/>
            <pc:sldMk cId="2354291851" sldId="350"/>
            <ac:spMk id="4" creationId="{D438BB3D-1327-4931-B1A1-7CCD615FA6B2}"/>
          </ac:spMkLst>
        </pc:spChg>
      </pc:sldChg>
      <pc:sldChg chg="modSp add del">
        <pc:chgData name="Axelsson Jenny" userId="35153831-a041-4e19-963c-026d50be729b" providerId="ADAL" clId="{45BF04A9-1534-43B6-9FE2-C4AAEAF0B80B}" dt="2022-04-19T11:00:15.827" v="84"/>
        <pc:sldMkLst>
          <pc:docMk/>
          <pc:sldMk cId="1662282722" sldId="351"/>
        </pc:sldMkLst>
        <pc:spChg chg="mod">
          <ac:chgData name="Axelsson Jenny" userId="35153831-a041-4e19-963c-026d50be729b" providerId="ADAL" clId="{45BF04A9-1534-43B6-9FE2-C4AAEAF0B80B}" dt="2022-04-19T10:59:56.031" v="80"/>
          <ac:spMkLst>
            <pc:docMk/>
            <pc:sldMk cId="1662282722" sldId="351"/>
            <ac:spMk id="4" creationId="{A14D7A74-3F94-48FC-9ED5-8E1AACCF388B}"/>
          </ac:spMkLst>
        </pc:spChg>
      </pc:sldChg>
      <pc:sldMasterChg chg="add addSldLayout">
        <pc:chgData name="Axelsson Jenny" userId="35153831-a041-4e19-963c-026d50be729b" providerId="ADAL" clId="{45BF04A9-1534-43B6-9FE2-C4AAEAF0B80B}" dt="2022-04-19T12:20:16.327" v="246" actId="27028"/>
        <pc:sldMasterMkLst>
          <pc:docMk/>
          <pc:sldMasterMk cId="2461492071" sldId="2147483648"/>
        </pc:sldMasterMkLst>
        <pc:sldLayoutChg chg="add">
          <pc:chgData name="Axelsson Jenny" userId="35153831-a041-4e19-963c-026d50be729b" providerId="ADAL" clId="{45BF04A9-1534-43B6-9FE2-C4AAEAF0B80B}" dt="2022-04-19T12:20:16.327" v="246" actId="27028"/>
          <pc:sldLayoutMkLst>
            <pc:docMk/>
            <pc:sldMasterMk cId="2461492071" sldId="2147483648"/>
            <pc:sldLayoutMk cId="3393733535" sldId="2147483650"/>
          </pc:sldLayoutMkLst>
        </pc:sldLayoutChg>
        <pc:sldLayoutChg chg="add">
          <pc:chgData name="Axelsson Jenny" userId="35153831-a041-4e19-963c-026d50be729b" providerId="ADAL" clId="{45BF04A9-1534-43B6-9FE2-C4AAEAF0B80B}" dt="2022-04-19T12:20:16.300" v="244" actId="27028"/>
          <pc:sldLayoutMkLst>
            <pc:docMk/>
            <pc:sldMasterMk cId="2461492071" sldId="2147483648"/>
            <pc:sldLayoutMk cId="3619709508" sldId="2147483658"/>
          </pc:sldLayoutMkLst>
        </pc:sldLayoutChg>
      </pc:sldMasterChg>
      <pc:sldMasterChg chg="replId addSldLayout delSldLayout modSldLayout">
        <pc:chgData name="Axelsson Jenny" userId="35153831-a041-4e19-963c-026d50be729b" providerId="ADAL" clId="{45BF04A9-1534-43B6-9FE2-C4AAEAF0B80B}" dt="2022-04-19T12:20:16.327" v="246" actId="27028"/>
        <pc:sldMasterMkLst>
          <pc:docMk/>
          <pc:sldMasterMk cId="2358584115" sldId="2147483662"/>
        </pc:sldMasterMkLst>
        <pc:sldLayoutChg chg="add del">
          <pc:chgData name="Axelsson Jenny" userId="35153831-a041-4e19-963c-026d50be729b" providerId="ADAL" clId="{45BF04A9-1534-43B6-9FE2-C4AAEAF0B80B}" dt="2022-04-19T12:20:12.494" v="243" actId="27028"/>
          <pc:sldLayoutMkLst>
            <pc:docMk/>
            <pc:sldMasterMk cId="2358584115" sldId="2147483662"/>
            <pc:sldLayoutMk cId="4283877157" sldId="2147483662"/>
          </pc:sldLayoutMkLst>
        </pc:sldLayoutChg>
        <pc:sldLayoutChg chg="replId">
          <pc:chgData name="Axelsson Jenny" userId="35153831-a041-4e19-963c-026d50be729b" providerId="ADAL" clId="{45BF04A9-1534-43B6-9FE2-C4AAEAF0B80B}" dt="2022-04-19T12:20:16.300" v="244" actId="27028"/>
          <pc:sldLayoutMkLst>
            <pc:docMk/>
            <pc:sldMasterMk cId="2358584115" sldId="2147483662"/>
            <pc:sldLayoutMk cId="516649601" sldId="2147483663"/>
          </pc:sldLayoutMkLst>
        </pc:sldLayoutChg>
        <pc:sldLayoutChg chg="replId">
          <pc:chgData name="Axelsson Jenny" userId="35153831-a041-4e19-963c-026d50be729b" providerId="ADAL" clId="{45BF04A9-1534-43B6-9FE2-C4AAEAF0B80B}" dt="2022-04-19T12:20:16.327" v="246" actId="27028"/>
          <pc:sldLayoutMkLst>
            <pc:docMk/>
            <pc:sldMasterMk cId="2358584115" sldId="2147483662"/>
            <pc:sldLayoutMk cId="57955757" sldId="2147483664"/>
          </pc:sldLayoutMkLst>
        </pc:sldLayoutChg>
      </pc:sldMasterChg>
    </pc:docChg>
  </pc:docChgLst>
  <pc:docChgLst>
    <pc:chgData name="Axelsson Jenny" userId="S::jenny.axelsson@inera.se::35153831-a041-4e19-963c-026d50be729b" providerId="AD" clId="Web-{5A75C73D-0AE9-40E2-A648-9F5680715C9C}"/>
    <pc:docChg chg="addSld modSld">
      <pc:chgData name="Axelsson Jenny" userId="S::jenny.axelsson@inera.se::35153831-a041-4e19-963c-026d50be729b" providerId="AD" clId="Web-{5A75C73D-0AE9-40E2-A648-9F5680715C9C}" dt="2022-01-19T10:15:30.144" v="13" actId="14100"/>
      <pc:docMkLst>
        <pc:docMk/>
      </pc:docMkLst>
      <pc:sldChg chg="addSp delSp modSp new">
        <pc:chgData name="Axelsson Jenny" userId="S::jenny.axelsson@inera.se::35153831-a041-4e19-963c-026d50be729b" providerId="AD" clId="Web-{5A75C73D-0AE9-40E2-A648-9F5680715C9C}" dt="2022-01-19T10:15:30.144" v="13" actId="14100"/>
        <pc:sldMkLst>
          <pc:docMk/>
          <pc:sldMk cId="3360954613" sldId="331"/>
        </pc:sldMkLst>
        <pc:spChg chg="del">
          <ac:chgData name="Axelsson Jenny" userId="S::jenny.axelsson@inera.se::35153831-a041-4e19-963c-026d50be729b" providerId="AD" clId="Web-{5A75C73D-0AE9-40E2-A648-9F5680715C9C}" dt="2022-01-19T10:12:33.586" v="1"/>
          <ac:spMkLst>
            <pc:docMk/>
            <pc:sldMk cId="3360954613" sldId="331"/>
            <ac:spMk id="3" creationId="{6D8CC75D-8CCE-4C35-AD22-1F7E1437843A}"/>
          </ac:spMkLst>
        </pc:spChg>
        <pc:spChg chg="add del mod">
          <ac:chgData name="Axelsson Jenny" userId="S::jenny.axelsson@inera.se::35153831-a041-4e19-963c-026d50be729b" providerId="AD" clId="Web-{5A75C73D-0AE9-40E2-A648-9F5680715C9C}" dt="2022-01-19T10:15:03.721" v="6"/>
          <ac:spMkLst>
            <pc:docMk/>
            <pc:sldMk cId="3360954613" sldId="331"/>
            <ac:spMk id="8" creationId="{32699BF3-CB66-4C6C-8DB4-E174ACE4C95F}"/>
          </ac:spMkLst>
        </pc:spChg>
        <pc:picChg chg="add del mod ord">
          <ac:chgData name="Axelsson Jenny" userId="S::jenny.axelsson@inera.se::35153831-a041-4e19-963c-026d50be729b" providerId="AD" clId="Web-{5A75C73D-0AE9-40E2-A648-9F5680715C9C}" dt="2022-01-19T10:15:01.830" v="5"/>
          <ac:picMkLst>
            <pc:docMk/>
            <pc:sldMk cId="3360954613" sldId="331"/>
            <ac:picMk id="6" creationId="{4A0A25F9-1904-476D-834F-509196A3C6BB}"/>
          </ac:picMkLst>
        </pc:picChg>
        <pc:picChg chg="add mod ord">
          <ac:chgData name="Axelsson Jenny" userId="S::jenny.axelsson@inera.se::35153831-a041-4e19-963c-026d50be729b" providerId="AD" clId="Web-{5A75C73D-0AE9-40E2-A648-9F5680715C9C}" dt="2022-01-19T10:15:30.144" v="13" actId="14100"/>
          <ac:picMkLst>
            <pc:docMk/>
            <pc:sldMk cId="3360954613" sldId="331"/>
            <ac:picMk id="9" creationId="{1BE745B8-CD30-4C0B-B6F2-94ACAEB7E430}"/>
          </ac:picMkLst>
        </pc:picChg>
      </pc:sldChg>
    </pc:docChg>
  </pc:docChgLst>
  <pc:docChgLst>
    <pc:chgData name="Jonsson Åsa" userId="S::asa.jonsson@inera.se::e7c157ac-c4f4-446a-aea7-2d9507f60b0e" providerId="AD" clId="Web-{1631FFAC-7FF9-41E6-B222-C01D0B337A92}"/>
    <pc:docChg chg="addSld modSld">
      <pc:chgData name="Jonsson Åsa" userId="S::asa.jonsson@inera.se::e7c157ac-c4f4-446a-aea7-2d9507f60b0e" providerId="AD" clId="Web-{1631FFAC-7FF9-41E6-B222-C01D0B337A92}" dt="2022-01-26T12:42:14.777" v="195" actId="20577"/>
      <pc:docMkLst>
        <pc:docMk/>
      </pc:docMkLst>
      <pc:sldChg chg="modSp">
        <pc:chgData name="Jonsson Åsa" userId="S::asa.jonsson@inera.se::e7c157ac-c4f4-446a-aea7-2d9507f60b0e" providerId="AD" clId="Web-{1631FFAC-7FF9-41E6-B222-C01D0B337A92}" dt="2022-01-26T12:39:33.367" v="39" actId="20577"/>
        <pc:sldMkLst>
          <pc:docMk/>
          <pc:sldMk cId="1079766907" sldId="353"/>
        </pc:sldMkLst>
        <pc:spChg chg="mod">
          <ac:chgData name="Jonsson Åsa" userId="S::asa.jonsson@inera.se::e7c157ac-c4f4-446a-aea7-2d9507f60b0e" providerId="AD" clId="Web-{1631FFAC-7FF9-41E6-B222-C01D0B337A92}" dt="2022-01-26T12:39:33.367" v="39" actId="20577"/>
          <ac:spMkLst>
            <pc:docMk/>
            <pc:sldMk cId="1079766907" sldId="353"/>
            <ac:spMk id="3" creationId="{6C1B4C16-DD8B-4F29-BBCD-BE86B33D401F}"/>
          </ac:spMkLst>
        </pc:spChg>
      </pc:sldChg>
      <pc:sldChg chg="modSp new">
        <pc:chgData name="Jonsson Åsa" userId="S::asa.jonsson@inera.se::e7c157ac-c4f4-446a-aea7-2d9507f60b0e" providerId="AD" clId="Web-{1631FFAC-7FF9-41E6-B222-C01D0B337A92}" dt="2022-01-26T12:42:14.777" v="195" actId="20577"/>
        <pc:sldMkLst>
          <pc:docMk/>
          <pc:sldMk cId="2581502841" sldId="355"/>
        </pc:sldMkLst>
        <pc:spChg chg="mod">
          <ac:chgData name="Jonsson Åsa" userId="S::asa.jonsson@inera.se::e7c157ac-c4f4-446a-aea7-2d9507f60b0e" providerId="AD" clId="Web-{1631FFAC-7FF9-41E6-B222-C01D0B337A92}" dt="2022-01-26T12:40:56.151" v="63" actId="20577"/>
          <ac:spMkLst>
            <pc:docMk/>
            <pc:sldMk cId="2581502841" sldId="355"/>
            <ac:spMk id="2" creationId="{446D0C2B-F00A-408A-A161-9D58F3F5139E}"/>
          </ac:spMkLst>
        </pc:spChg>
        <pc:spChg chg="mod">
          <ac:chgData name="Jonsson Åsa" userId="S::asa.jonsson@inera.se::e7c157ac-c4f4-446a-aea7-2d9507f60b0e" providerId="AD" clId="Web-{1631FFAC-7FF9-41E6-B222-C01D0B337A92}" dt="2022-01-26T12:42:14.777" v="195" actId="20577"/>
          <ac:spMkLst>
            <pc:docMk/>
            <pc:sldMk cId="2581502841" sldId="355"/>
            <ac:spMk id="3" creationId="{F192FB5F-2468-43A1-A64E-C2C3D1796F92}"/>
          </ac:spMkLst>
        </pc:spChg>
      </pc:sldChg>
    </pc:docChg>
  </pc:docChgLst>
  <pc:docChgLst>
    <pc:chgData name="Jonsson Åsa" userId="S::asa.jonsson@inera.se::e7c157ac-c4f4-446a-aea7-2d9507f60b0e" providerId="AD" clId="Web-{8D36885D-1145-4450-9B9C-9FDFB8183FEC}"/>
    <pc:docChg chg="addSld modSld">
      <pc:chgData name="Jonsson Åsa" userId="S::asa.jonsson@inera.se::e7c157ac-c4f4-446a-aea7-2d9507f60b0e" providerId="AD" clId="Web-{8D36885D-1145-4450-9B9C-9FDFB8183FEC}" dt="2022-01-26T12:22:54.217" v="198" actId="20577"/>
      <pc:docMkLst>
        <pc:docMk/>
      </pc:docMkLst>
      <pc:sldChg chg="modSp new">
        <pc:chgData name="Jonsson Åsa" userId="S::asa.jonsson@inera.se::e7c157ac-c4f4-446a-aea7-2d9507f60b0e" providerId="AD" clId="Web-{8D36885D-1145-4450-9B9C-9FDFB8183FEC}" dt="2022-01-26T12:22:54.217" v="198" actId="20577"/>
        <pc:sldMkLst>
          <pc:docMk/>
          <pc:sldMk cId="1079766907" sldId="353"/>
        </pc:sldMkLst>
        <pc:spChg chg="mod">
          <ac:chgData name="Jonsson Åsa" userId="S::asa.jonsson@inera.se::e7c157ac-c4f4-446a-aea7-2d9507f60b0e" providerId="AD" clId="Web-{8D36885D-1145-4450-9B9C-9FDFB8183FEC}" dt="2022-01-26T12:20:29.151" v="31" actId="20577"/>
          <ac:spMkLst>
            <pc:docMk/>
            <pc:sldMk cId="1079766907" sldId="353"/>
            <ac:spMk id="2" creationId="{EB6CA5B0-6D2F-4383-B3E8-886F5B731907}"/>
          </ac:spMkLst>
        </pc:spChg>
        <pc:spChg chg="mod">
          <ac:chgData name="Jonsson Åsa" userId="S::asa.jonsson@inera.se::e7c157ac-c4f4-446a-aea7-2d9507f60b0e" providerId="AD" clId="Web-{8D36885D-1145-4450-9B9C-9FDFB8183FEC}" dt="2022-01-26T12:22:54.217" v="198" actId="20577"/>
          <ac:spMkLst>
            <pc:docMk/>
            <pc:sldMk cId="1079766907" sldId="353"/>
            <ac:spMk id="3" creationId="{6C1B4C16-DD8B-4F29-BBCD-BE86B33D401F}"/>
          </ac:spMkLst>
        </pc:spChg>
      </pc:sldChg>
    </pc:docChg>
  </pc:docChgLst>
  <pc:docChgLst>
    <pc:chgData name="Axelsson Jenny" userId="S::jenny.axelsson@inera.se::35153831-a041-4e19-963c-026d50be729b" providerId="AD" clId="Web-{30647B9A-2DAD-4BED-AF42-099FA2AC276D}"/>
    <pc:docChg chg="addSld delSld modSld sldOrd">
      <pc:chgData name="Axelsson Jenny" userId="S::jenny.axelsson@inera.se::35153831-a041-4e19-963c-026d50be729b" providerId="AD" clId="Web-{30647B9A-2DAD-4BED-AF42-099FA2AC276D}" dt="2022-01-18T15:41:59.493" v="133" actId="20577"/>
      <pc:docMkLst>
        <pc:docMk/>
      </pc:docMkLst>
      <pc:sldChg chg="modSp del">
        <pc:chgData name="Axelsson Jenny" userId="S::jenny.axelsson@inera.se::35153831-a041-4e19-963c-026d50be729b" providerId="AD" clId="Web-{30647B9A-2DAD-4BED-AF42-099FA2AC276D}" dt="2022-01-18T15:40:51.195" v="117"/>
        <pc:sldMkLst>
          <pc:docMk/>
          <pc:sldMk cId="1351546238" sldId="267"/>
        </pc:sldMkLst>
        <pc:spChg chg="mod">
          <ac:chgData name="Axelsson Jenny" userId="S::jenny.axelsson@inera.se::35153831-a041-4e19-963c-026d50be729b" providerId="AD" clId="Web-{30647B9A-2DAD-4BED-AF42-099FA2AC276D}" dt="2022-01-18T15:40:15.491" v="110" actId="20577"/>
          <ac:spMkLst>
            <pc:docMk/>
            <pc:sldMk cId="1351546238" sldId="267"/>
            <ac:spMk id="5" creationId="{E66C5368-8331-464F-8C50-5BB97655E8A7}"/>
          </ac:spMkLst>
        </pc:spChg>
      </pc:sldChg>
      <pc:sldChg chg="del">
        <pc:chgData name="Axelsson Jenny" userId="S::jenny.axelsson@inera.se::35153831-a041-4e19-963c-026d50be729b" providerId="AD" clId="Web-{30647B9A-2DAD-4BED-AF42-099FA2AC276D}" dt="2022-01-18T15:41:02.586" v="120"/>
        <pc:sldMkLst>
          <pc:docMk/>
          <pc:sldMk cId="1890798318" sldId="323"/>
        </pc:sldMkLst>
      </pc:sldChg>
      <pc:sldChg chg="ord">
        <pc:chgData name="Axelsson Jenny" userId="S::jenny.axelsson@inera.se::35153831-a041-4e19-963c-026d50be729b" providerId="AD" clId="Web-{30647B9A-2DAD-4BED-AF42-099FA2AC276D}" dt="2022-01-18T15:41:50.712" v="131"/>
        <pc:sldMkLst>
          <pc:docMk/>
          <pc:sldMk cId="1447821777" sldId="325"/>
        </pc:sldMkLst>
      </pc:sldChg>
      <pc:sldChg chg="del">
        <pc:chgData name="Axelsson Jenny" userId="S::jenny.axelsson@inera.se::35153831-a041-4e19-963c-026d50be729b" providerId="AD" clId="Web-{30647B9A-2DAD-4BED-AF42-099FA2AC276D}" dt="2022-01-18T15:41:45.087" v="129"/>
        <pc:sldMkLst>
          <pc:docMk/>
          <pc:sldMk cId="2032816693" sldId="326"/>
        </pc:sldMkLst>
      </pc:sldChg>
      <pc:sldChg chg="addSp modSp new mod modClrScheme chgLayout">
        <pc:chgData name="Axelsson Jenny" userId="S::jenny.axelsson@inera.se::35153831-a041-4e19-963c-026d50be729b" providerId="AD" clId="Web-{30647B9A-2DAD-4BED-AF42-099FA2AC276D}" dt="2022-01-18T15:41:25.821" v="128" actId="20577"/>
        <pc:sldMkLst>
          <pc:docMk/>
          <pc:sldMk cId="3738514320" sldId="327"/>
        </pc:sldMkLst>
        <pc:spChg chg="mod ord">
          <ac:chgData name="Axelsson Jenny" userId="S::jenny.axelsson@inera.se::35153831-a041-4e19-963c-026d50be729b" providerId="AD" clId="Web-{30647B9A-2DAD-4BED-AF42-099FA2AC276D}" dt="2022-01-18T15:41:25.821" v="128" actId="20577"/>
          <ac:spMkLst>
            <pc:docMk/>
            <pc:sldMk cId="3738514320" sldId="327"/>
            <ac:spMk id="2" creationId="{0CFCCCF5-BAA9-4E4C-96B6-6829CE835F12}"/>
          </ac:spMkLst>
        </pc:spChg>
        <pc:spChg chg="mod ord">
          <ac:chgData name="Axelsson Jenny" userId="S::jenny.axelsson@inera.se::35153831-a041-4e19-963c-026d50be729b" providerId="AD" clId="Web-{30647B9A-2DAD-4BED-AF42-099FA2AC276D}" dt="2022-01-18T15:40:24.772" v="112"/>
          <ac:spMkLst>
            <pc:docMk/>
            <pc:sldMk cId="3738514320" sldId="327"/>
            <ac:spMk id="3" creationId="{9B9BDEB0-A059-4A27-A7FB-18D322E606A2}"/>
          </ac:spMkLst>
        </pc:spChg>
        <pc:spChg chg="mod ord">
          <ac:chgData name="Axelsson Jenny" userId="S::jenny.axelsson@inera.se::35153831-a041-4e19-963c-026d50be729b" providerId="AD" clId="Web-{30647B9A-2DAD-4BED-AF42-099FA2AC276D}" dt="2022-01-18T15:40:24.772" v="112"/>
          <ac:spMkLst>
            <pc:docMk/>
            <pc:sldMk cId="3738514320" sldId="327"/>
            <ac:spMk id="4" creationId="{F71C981C-F9F9-4167-9BDA-91B21A785F04}"/>
          </ac:spMkLst>
        </pc:spChg>
        <pc:spChg chg="add mod ord">
          <ac:chgData name="Axelsson Jenny" userId="S::jenny.axelsson@inera.se::35153831-a041-4e19-963c-026d50be729b" providerId="AD" clId="Web-{30647B9A-2DAD-4BED-AF42-099FA2AC276D}" dt="2022-01-18T15:40:48.710" v="116" actId="20577"/>
          <ac:spMkLst>
            <pc:docMk/>
            <pc:sldMk cId="3738514320" sldId="327"/>
            <ac:spMk id="5" creationId="{BC5C837C-7D53-4E50-BDC1-752E6FCF03A0}"/>
          </ac:spMkLst>
        </pc:spChg>
      </pc:sldChg>
      <pc:sldChg chg="modSp add replId">
        <pc:chgData name="Axelsson Jenny" userId="S::jenny.axelsson@inera.se::35153831-a041-4e19-963c-026d50be729b" providerId="AD" clId="Web-{30647B9A-2DAD-4BED-AF42-099FA2AC276D}" dt="2022-01-18T15:41:59.493" v="133" actId="20577"/>
        <pc:sldMkLst>
          <pc:docMk/>
          <pc:sldMk cId="4158201782" sldId="328"/>
        </pc:sldMkLst>
        <pc:spChg chg="mod">
          <ac:chgData name="Axelsson Jenny" userId="S::jenny.axelsson@inera.se::35153831-a041-4e19-963c-026d50be729b" providerId="AD" clId="Web-{30647B9A-2DAD-4BED-AF42-099FA2AC276D}" dt="2022-01-18T15:41:18.930" v="127" actId="20577"/>
          <ac:spMkLst>
            <pc:docMk/>
            <pc:sldMk cId="4158201782" sldId="328"/>
            <ac:spMk id="2" creationId="{0CFCCCF5-BAA9-4E4C-96B6-6829CE835F12}"/>
          </ac:spMkLst>
        </pc:spChg>
        <pc:spChg chg="mod">
          <ac:chgData name="Axelsson Jenny" userId="S::jenny.axelsson@inera.se::35153831-a041-4e19-963c-026d50be729b" providerId="AD" clId="Web-{30647B9A-2DAD-4BED-AF42-099FA2AC276D}" dt="2022-01-18T15:41:59.493" v="133" actId="20577"/>
          <ac:spMkLst>
            <pc:docMk/>
            <pc:sldMk cId="4158201782" sldId="328"/>
            <ac:spMk id="5" creationId="{BC5C837C-7D53-4E50-BDC1-752E6FCF03A0}"/>
          </ac:spMkLst>
        </pc:spChg>
      </pc:sldChg>
      <pc:sldChg chg="new del">
        <pc:chgData name="Axelsson Jenny" userId="S::jenny.axelsson@inera.se::35153831-a041-4e19-963c-026d50be729b" providerId="AD" clId="Web-{30647B9A-2DAD-4BED-AF42-099FA2AC276D}" dt="2022-01-18T15:41:02.804" v="121"/>
        <pc:sldMkLst>
          <pc:docMk/>
          <pc:sldMk cId="3938898575" sldId="329"/>
        </pc:sldMkLst>
      </pc:sldChg>
      <pc:sldChg chg="add replId">
        <pc:chgData name="Axelsson Jenny" userId="S::jenny.axelsson@inera.se::35153831-a041-4e19-963c-026d50be729b" providerId="AD" clId="Web-{30647B9A-2DAD-4BED-AF42-099FA2AC276D}" dt="2022-01-18T15:41:47.446" v="130"/>
        <pc:sldMkLst>
          <pc:docMk/>
          <pc:sldMk cId="4095140548" sldId="329"/>
        </pc:sldMkLst>
      </pc:sldChg>
    </pc:docChg>
  </pc:docChgLst>
  <pc:docChgLst>
    <pc:chgData name="Axelsson Jenny" userId="35153831-a041-4e19-963c-026d50be729b" providerId="ADAL" clId="{D4113166-57DF-4491-B0B3-8F01CEA07F6E}"/>
    <pc:docChg chg="undo custSel addSld delSld modSld sldOrd modShowInfo">
      <pc:chgData name="Axelsson Jenny" userId="35153831-a041-4e19-963c-026d50be729b" providerId="ADAL" clId="{D4113166-57DF-4491-B0B3-8F01CEA07F6E}" dt="2022-03-25T12:27:20.101" v="275" actId="2744"/>
      <pc:docMkLst>
        <pc:docMk/>
      </pc:docMkLst>
      <pc:sldChg chg="modSp mod">
        <pc:chgData name="Axelsson Jenny" userId="35153831-a041-4e19-963c-026d50be729b" providerId="ADAL" clId="{D4113166-57DF-4491-B0B3-8F01CEA07F6E}" dt="2022-03-21T09:21:52.514" v="50" actId="20577"/>
        <pc:sldMkLst>
          <pc:docMk/>
          <pc:sldMk cId="1036871477" sldId="264"/>
        </pc:sldMkLst>
        <pc:spChg chg="mod">
          <ac:chgData name="Axelsson Jenny" userId="35153831-a041-4e19-963c-026d50be729b" providerId="ADAL" clId="{D4113166-57DF-4491-B0B3-8F01CEA07F6E}" dt="2022-03-21T09:21:52.514" v="50" actId="20577"/>
          <ac:spMkLst>
            <pc:docMk/>
            <pc:sldMk cId="1036871477" sldId="264"/>
            <ac:spMk id="3" creationId="{3E215758-AD04-4783-8B7A-EA30D128D138}"/>
          </ac:spMkLst>
        </pc:spChg>
      </pc:sldChg>
      <pc:sldChg chg="modSp mod">
        <pc:chgData name="Axelsson Jenny" userId="35153831-a041-4e19-963c-026d50be729b" providerId="ADAL" clId="{D4113166-57DF-4491-B0B3-8F01CEA07F6E}" dt="2022-03-25T12:15:01.099" v="274" actId="20577"/>
        <pc:sldMkLst>
          <pc:docMk/>
          <pc:sldMk cId="2974578957" sldId="312"/>
        </pc:sldMkLst>
        <pc:spChg chg="mod">
          <ac:chgData name="Axelsson Jenny" userId="35153831-a041-4e19-963c-026d50be729b" providerId="ADAL" clId="{D4113166-57DF-4491-B0B3-8F01CEA07F6E}" dt="2022-03-25T12:15:01.099" v="274" actId="20577"/>
          <ac:spMkLst>
            <pc:docMk/>
            <pc:sldMk cId="2974578957" sldId="312"/>
            <ac:spMk id="4" creationId="{7C3A8192-81A1-4B54-8CE2-055E1C43C19C}"/>
          </ac:spMkLst>
        </pc:spChg>
      </pc:sldChg>
      <pc:sldChg chg="del">
        <pc:chgData name="Axelsson Jenny" userId="35153831-a041-4e19-963c-026d50be729b" providerId="ADAL" clId="{D4113166-57DF-4491-B0B3-8F01CEA07F6E}" dt="2022-03-25T11:15:59.650" v="270" actId="47"/>
        <pc:sldMkLst>
          <pc:docMk/>
          <pc:sldMk cId="1447821777" sldId="325"/>
        </pc:sldMkLst>
      </pc:sldChg>
      <pc:sldChg chg="addSp delSp modSp mod">
        <pc:chgData name="Axelsson Jenny" userId="35153831-a041-4e19-963c-026d50be729b" providerId="ADAL" clId="{D4113166-57DF-4491-B0B3-8F01CEA07F6E}" dt="2022-03-25T11:15:45.480" v="265" actId="6549"/>
        <pc:sldMkLst>
          <pc:docMk/>
          <pc:sldMk cId="3738514320" sldId="327"/>
        </pc:sldMkLst>
        <pc:spChg chg="add del mod">
          <ac:chgData name="Axelsson Jenny" userId="35153831-a041-4e19-963c-026d50be729b" providerId="ADAL" clId="{D4113166-57DF-4491-B0B3-8F01CEA07F6E}" dt="2022-03-25T11:15:45.480" v="265" actId="6549"/>
          <ac:spMkLst>
            <pc:docMk/>
            <pc:sldMk cId="3738514320" sldId="327"/>
            <ac:spMk id="5" creationId="{BC5C837C-7D53-4E50-BDC1-752E6FCF03A0}"/>
          </ac:spMkLst>
        </pc:spChg>
        <pc:spChg chg="add del mod">
          <ac:chgData name="Axelsson Jenny" userId="35153831-a041-4e19-963c-026d50be729b" providerId="ADAL" clId="{D4113166-57DF-4491-B0B3-8F01CEA07F6E}" dt="2022-03-25T11:15:27.687" v="260" actId="478"/>
          <ac:spMkLst>
            <pc:docMk/>
            <pc:sldMk cId="3738514320" sldId="327"/>
            <ac:spMk id="7" creationId="{E05E25B9-B667-47CE-A29F-A0778337A6CD}"/>
          </ac:spMkLst>
        </pc:spChg>
      </pc:sldChg>
      <pc:sldChg chg="modSp mod">
        <pc:chgData name="Axelsson Jenny" userId="35153831-a041-4e19-963c-026d50be729b" providerId="ADAL" clId="{D4113166-57DF-4491-B0B3-8F01CEA07F6E}" dt="2022-03-25T11:15:49.643" v="267" actId="5793"/>
        <pc:sldMkLst>
          <pc:docMk/>
          <pc:sldMk cId="4158201782" sldId="328"/>
        </pc:sldMkLst>
        <pc:spChg chg="mod">
          <ac:chgData name="Axelsson Jenny" userId="35153831-a041-4e19-963c-026d50be729b" providerId="ADAL" clId="{D4113166-57DF-4491-B0B3-8F01CEA07F6E}" dt="2022-03-25T11:15:49.643" v="267" actId="5793"/>
          <ac:spMkLst>
            <pc:docMk/>
            <pc:sldMk cId="4158201782" sldId="328"/>
            <ac:spMk id="5" creationId="{BC5C837C-7D53-4E50-BDC1-752E6FCF03A0}"/>
          </ac:spMkLst>
        </pc:spChg>
      </pc:sldChg>
      <pc:sldChg chg="del">
        <pc:chgData name="Axelsson Jenny" userId="35153831-a041-4e19-963c-026d50be729b" providerId="ADAL" clId="{D4113166-57DF-4491-B0B3-8F01CEA07F6E}" dt="2022-03-22T16:10:42.522" v="122" actId="47"/>
        <pc:sldMkLst>
          <pc:docMk/>
          <pc:sldMk cId="1360158982" sldId="330"/>
        </pc:sldMkLst>
      </pc:sldChg>
      <pc:sldChg chg="del">
        <pc:chgData name="Axelsson Jenny" userId="35153831-a041-4e19-963c-026d50be729b" providerId="ADAL" clId="{D4113166-57DF-4491-B0B3-8F01CEA07F6E}" dt="2022-03-22T16:09:19.815" v="103" actId="47"/>
        <pc:sldMkLst>
          <pc:docMk/>
          <pc:sldMk cId="650609371" sldId="342"/>
        </pc:sldMkLst>
      </pc:sldChg>
      <pc:sldChg chg="del">
        <pc:chgData name="Axelsson Jenny" userId="35153831-a041-4e19-963c-026d50be729b" providerId="ADAL" clId="{D4113166-57DF-4491-B0B3-8F01CEA07F6E}" dt="2022-03-21T09:21:01.350" v="1" actId="47"/>
        <pc:sldMkLst>
          <pc:docMk/>
          <pc:sldMk cId="991745743" sldId="343"/>
        </pc:sldMkLst>
      </pc:sldChg>
      <pc:sldChg chg="modSp add mod">
        <pc:chgData name="Axelsson Jenny" userId="35153831-a041-4e19-963c-026d50be729b" providerId="ADAL" clId="{D4113166-57DF-4491-B0B3-8F01CEA07F6E}" dt="2022-03-25T11:15:52.803" v="268" actId="6549"/>
        <pc:sldMkLst>
          <pc:docMk/>
          <pc:sldMk cId="4191591904" sldId="343"/>
        </pc:sldMkLst>
        <pc:spChg chg="mod">
          <ac:chgData name="Axelsson Jenny" userId="35153831-a041-4e19-963c-026d50be729b" providerId="ADAL" clId="{D4113166-57DF-4491-B0B3-8F01CEA07F6E}" dt="2022-03-25T11:15:52.803" v="268" actId="6549"/>
          <ac:spMkLst>
            <pc:docMk/>
            <pc:sldMk cId="4191591904" sldId="343"/>
            <ac:spMk id="5" creationId="{BC5C837C-7D53-4E50-BDC1-752E6FCF03A0}"/>
          </ac:spMkLst>
        </pc:spChg>
      </pc:sldChg>
      <pc:sldChg chg="modSp add del mod">
        <pc:chgData name="Axelsson Jenny" userId="35153831-a041-4e19-963c-026d50be729b" providerId="ADAL" clId="{D4113166-57DF-4491-B0B3-8F01CEA07F6E}" dt="2022-03-25T11:15:58.796" v="269" actId="47"/>
        <pc:sldMkLst>
          <pc:docMk/>
          <pc:sldMk cId="1783605678" sldId="344"/>
        </pc:sldMkLst>
        <pc:spChg chg="mod">
          <ac:chgData name="Axelsson Jenny" userId="35153831-a041-4e19-963c-026d50be729b" providerId="ADAL" clId="{D4113166-57DF-4491-B0B3-8F01CEA07F6E}" dt="2022-03-25T11:15:01.131" v="253" actId="6549"/>
          <ac:spMkLst>
            <pc:docMk/>
            <pc:sldMk cId="1783605678" sldId="344"/>
            <ac:spMk id="5" creationId="{BC5C837C-7D53-4E50-BDC1-752E6FCF03A0}"/>
          </ac:spMkLst>
        </pc:spChg>
      </pc:sldChg>
      <pc:sldChg chg="del">
        <pc:chgData name="Axelsson Jenny" userId="35153831-a041-4e19-963c-026d50be729b" providerId="ADAL" clId="{D4113166-57DF-4491-B0B3-8F01CEA07F6E}" dt="2022-03-21T09:21:02.804" v="3" actId="47"/>
        <pc:sldMkLst>
          <pc:docMk/>
          <pc:sldMk cId="2556717896" sldId="344"/>
        </pc:sldMkLst>
      </pc:sldChg>
      <pc:sldChg chg="modSp add mod">
        <pc:chgData name="Axelsson Jenny" userId="35153831-a041-4e19-963c-026d50be729b" providerId="ADAL" clId="{D4113166-57DF-4491-B0B3-8F01CEA07F6E}" dt="2022-03-25T11:16:03.019" v="272" actId="5793"/>
        <pc:sldMkLst>
          <pc:docMk/>
          <pc:sldMk cId="1961555816" sldId="345"/>
        </pc:sldMkLst>
        <pc:spChg chg="mod">
          <ac:chgData name="Axelsson Jenny" userId="35153831-a041-4e19-963c-026d50be729b" providerId="ADAL" clId="{D4113166-57DF-4491-B0B3-8F01CEA07F6E}" dt="2022-03-25T11:16:03.019" v="272" actId="5793"/>
          <ac:spMkLst>
            <pc:docMk/>
            <pc:sldMk cId="1961555816" sldId="345"/>
            <ac:spMk id="5" creationId="{BC5C837C-7D53-4E50-BDC1-752E6FCF03A0}"/>
          </ac:spMkLst>
        </pc:spChg>
      </pc:sldChg>
      <pc:sldChg chg="del">
        <pc:chgData name="Axelsson Jenny" userId="35153831-a041-4e19-963c-026d50be729b" providerId="ADAL" clId="{D4113166-57DF-4491-B0B3-8F01CEA07F6E}" dt="2022-03-21T09:21:03.222" v="4" actId="47"/>
        <pc:sldMkLst>
          <pc:docMk/>
          <pc:sldMk cId="3358880838" sldId="345"/>
        </pc:sldMkLst>
      </pc:sldChg>
      <pc:sldChg chg="del">
        <pc:chgData name="Axelsson Jenny" userId="35153831-a041-4e19-963c-026d50be729b" providerId="ADAL" clId="{D4113166-57DF-4491-B0B3-8F01CEA07F6E}" dt="2022-03-21T09:21:03.860" v="5" actId="47"/>
        <pc:sldMkLst>
          <pc:docMk/>
          <pc:sldMk cId="415153516" sldId="346"/>
        </pc:sldMkLst>
      </pc:sldChg>
      <pc:sldChg chg="modSp add del mod">
        <pc:chgData name="Axelsson Jenny" userId="35153831-a041-4e19-963c-026d50be729b" providerId="ADAL" clId="{D4113166-57DF-4491-B0B3-8F01CEA07F6E}" dt="2022-03-25T11:14:13.606" v="234" actId="47"/>
        <pc:sldMkLst>
          <pc:docMk/>
          <pc:sldMk cId="2632127831" sldId="346"/>
        </pc:sldMkLst>
        <pc:spChg chg="mod">
          <ac:chgData name="Axelsson Jenny" userId="35153831-a041-4e19-963c-026d50be729b" providerId="ADAL" clId="{D4113166-57DF-4491-B0B3-8F01CEA07F6E}" dt="2022-03-24T12:12:49.608" v="220"/>
          <ac:spMkLst>
            <pc:docMk/>
            <pc:sldMk cId="2632127831" sldId="346"/>
            <ac:spMk id="5" creationId="{BC5C837C-7D53-4E50-BDC1-752E6FCF03A0}"/>
          </ac:spMkLst>
        </pc:spChg>
      </pc:sldChg>
      <pc:sldChg chg="modSp add del mod">
        <pc:chgData name="Axelsson Jenny" userId="35153831-a041-4e19-963c-026d50be729b" providerId="ADAL" clId="{D4113166-57DF-4491-B0B3-8F01CEA07F6E}" dt="2022-03-25T11:14:14.770" v="235" actId="47"/>
        <pc:sldMkLst>
          <pc:docMk/>
          <pc:sldMk cId="1861357430" sldId="347"/>
        </pc:sldMkLst>
        <pc:spChg chg="mod">
          <ac:chgData name="Axelsson Jenny" userId="35153831-a041-4e19-963c-026d50be729b" providerId="ADAL" clId="{D4113166-57DF-4491-B0B3-8F01CEA07F6E}" dt="2022-03-22T16:10:40.988" v="121"/>
          <ac:spMkLst>
            <pc:docMk/>
            <pc:sldMk cId="1861357430" sldId="347"/>
            <ac:spMk id="2" creationId="{0CFCCCF5-BAA9-4E4C-96B6-6829CE835F12}"/>
          </ac:spMkLst>
        </pc:spChg>
        <pc:spChg chg="mod">
          <ac:chgData name="Axelsson Jenny" userId="35153831-a041-4e19-963c-026d50be729b" providerId="ADAL" clId="{D4113166-57DF-4491-B0B3-8F01CEA07F6E}" dt="2022-03-24T12:12:55.602" v="233" actId="20577"/>
          <ac:spMkLst>
            <pc:docMk/>
            <pc:sldMk cId="1861357430" sldId="347"/>
            <ac:spMk id="5" creationId="{BC5C837C-7D53-4E50-BDC1-752E6FCF03A0}"/>
          </ac:spMkLst>
        </pc:spChg>
      </pc:sldChg>
      <pc:sldChg chg="del">
        <pc:chgData name="Axelsson Jenny" userId="35153831-a041-4e19-963c-026d50be729b" providerId="ADAL" clId="{D4113166-57DF-4491-B0B3-8F01CEA07F6E}" dt="2022-03-21T09:21:05.140" v="7" actId="47"/>
        <pc:sldMkLst>
          <pc:docMk/>
          <pc:sldMk cId="2078479713" sldId="347"/>
        </pc:sldMkLst>
      </pc:sldChg>
      <pc:sldChg chg="modSp new mod ord">
        <pc:chgData name="Axelsson Jenny" userId="35153831-a041-4e19-963c-026d50be729b" providerId="ADAL" clId="{D4113166-57DF-4491-B0B3-8F01CEA07F6E}" dt="2022-03-24T12:12:01.682" v="214"/>
        <pc:sldMkLst>
          <pc:docMk/>
          <pc:sldMk cId="128778050" sldId="348"/>
        </pc:sldMkLst>
        <pc:spChg chg="mod">
          <ac:chgData name="Axelsson Jenny" userId="35153831-a041-4e19-963c-026d50be729b" providerId="ADAL" clId="{D4113166-57DF-4491-B0B3-8F01CEA07F6E}" dt="2022-03-24T12:09:56.724" v="203" actId="20577"/>
          <ac:spMkLst>
            <pc:docMk/>
            <pc:sldMk cId="128778050" sldId="348"/>
            <ac:spMk id="2" creationId="{2EBBB82B-2752-4965-B617-99A1356CD01E}"/>
          </ac:spMkLst>
        </pc:spChg>
        <pc:spChg chg="mod">
          <ac:chgData name="Axelsson Jenny" userId="35153831-a041-4e19-963c-026d50be729b" providerId="ADAL" clId="{D4113166-57DF-4491-B0B3-8F01CEA07F6E}" dt="2022-03-24T12:11:03.891" v="212"/>
          <ac:spMkLst>
            <pc:docMk/>
            <pc:sldMk cId="128778050" sldId="348"/>
            <ac:spMk id="3" creationId="{DB25B184-1704-4BF5-AD49-F2149E8F31BB}"/>
          </ac:spMkLst>
        </pc:spChg>
      </pc:sldChg>
      <pc:sldChg chg="del">
        <pc:chgData name="Axelsson Jenny" userId="35153831-a041-4e19-963c-026d50be729b" providerId="ADAL" clId="{D4113166-57DF-4491-B0B3-8F01CEA07F6E}" dt="2022-03-21T09:21:02.317" v="2" actId="47"/>
        <pc:sldMkLst>
          <pc:docMk/>
          <pc:sldMk cId="659618587" sldId="348"/>
        </pc:sldMkLst>
      </pc:sldChg>
      <pc:sldChg chg="del">
        <pc:chgData name="Axelsson Jenny" userId="35153831-a041-4e19-963c-026d50be729b" providerId="ADAL" clId="{D4113166-57DF-4491-B0B3-8F01CEA07F6E}" dt="2022-03-21T09:21:04.485" v="6" actId="47"/>
        <pc:sldMkLst>
          <pc:docMk/>
          <pc:sldMk cId="366207789" sldId="349"/>
        </pc:sldMkLst>
      </pc:sldChg>
      <pc:sldChg chg="del">
        <pc:chgData name="Axelsson Jenny" userId="35153831-a041-4e19-963c-026d50be729b" providerId="ADAL" clId="{D4113166-57DF-4491-B0B3-8F01CEA07F6E}" dt="2022-03-21T09:21:06.196" v="8" actId="47"/>
        <pc:sldMkLst>
          <pc:docMk/>
          <pc:sldMk cId="1305960437" sldId="350"/>
        </pc:sldMkLst>
      </pc:sldChg>
    </pc:docChg>
  </pc:docChgLst>
  <pc:docChgLst>
    <pc:chgData name="Axelsson Jenny" userId="35153831-a041-4e19-963c-026d50be729b" providerId="ADAL" clId="{7AA9F7BB-82C3-474B-A8FD-5995DFFA5BA7}"/>
    <pc:docChg chg="addSld delSld modSld">
      <pc:chgData name="Axelsson Jenny" userId="35153831-a041-4e19-963c-026d50be729b" providerId="ADAL" clId="{7AA9F7BB-82C3-474B-A8FD-5995DFFA5BA7}" dt="2021-01-25T15:43:36.307" v="36" actId="113"/>
      <pc:docMkLst>
        <pc:docMk/>
      </pc:docMkLst>
      <pc:sldChg chg="modSp mod">
        <pc:chgData name="Axelsson Jenny" userId="35153831-a041-4e19-963c-026d50be729b" providerId="ADAL" clId="{7AA9F7BB-82C3-474B-A8FD-5995DFFA5BA7}" dt="2021-01-25T15:42:53.447" v="19" actId="6549"/>
        <pc:sldMkLst>
          <pc:docMk/>
          <pc:sldMk cId="1351546238" sldId="267"/>
        </pc:sldMkLst>
        <pc:spChg chg="mod">
          <ac:chgData name="Axelsson Jenny" userId="35153831-a041-4e19-963c-026d50be729b" providerId="ADAL" clId="{7AA9F7BB-82C3-474B-A8FD-5995DFFA5BA7}" dt="2021-01-25T15:42:53.447" v="19" actId="6549"/>
          <ac:spMkLst>
            <pc:docMk/>
            <pc:sldMk cId="1351546238" sldId="267"/>
            <ac:spMk id="5" creationId="{E66C5368-8331-464F-8C50-5BB97655E8A7}"/>
          </ac:spMkLst>
        </pc:spChg>
      </pc:sldChg>
      <pc:sldChg chg="modSp mod">
        <pc:chgData name="Axelsson Jenny" userId="35153831-a041-4e19-963c-026d50be729b" providerId="ADAL" clId="{7AA9F7BB-82C3-474B-A8FD-5995DFFA5BA7}" dt="2021-01-25T15:43:25.875" v="31" actId="113"/>
        <pc:sldMkLst>
          <pc:docMk/>
          <pc:sldMk cId="2850266236" sldId="300"/>
        </pc:sldMkLst>
        <pc:spChg chg="mod">
          <ac:chgData name="Axelsson Jenny" userId="35153831-a041-4e19-963c-026d50be729b" providerId="ADAL" clId="{7AA9F7BB-82C3-474B-A8FD-5995DFFA5BA7}" dt="2021-01-25T15:43:25.875" v="31" actId="113"/>
          <ac:spMkLst>
            <pc:docMk/>
            <pc:sldMk cId="2850266236" sldId="300"/>
            <ac:spMk id="5" creationId="{E66C5368-8331-464F-8C50-5BB97655E8A7}"/>
          </ac:spMkLst>
        </pc:spChg>
      </pc:sldChg>
      <pc:sldChg chg="modSp mod">
        <pc:chgData name="Axelsson Jenny" userId="35153831-a041-4e19-963c-026d50be729b" providerId="ADAL" clId="{7AA9F7BB-82C3-474B-A8FD-5995DFFA5BA7}" dt="2021-01-25T15:43:15.018" v="30" actId="6549"/>
        <pc:sldMkLst>
          <pc:docMk/>
          <pc:sldMk cId="4158479537" sldId="320"/>
        </pc:sldMkLst>
        <pc:spChg chg="mod">
          <ac:chgData name="Axelsson Jenny" userId="35153831-a041-4e19-963c-026d50be729b" providerId="ADAL" clId="{7AA9F7BB-82C3-474B-A8FD-5995DFFA5BA7}" dt="2021-01-25T15:43:15.018" v="30" actId="6549"/>
          <ac:spMkLst>
            <pc:docMk/>
            <pc:sldMk cId="4158479537" sldId="320"/>
            <ac:spMk id="5" creationId="{E66C5368-8331-464F-8C50-5BB97655E8A7}"/>
          </ac:spMkLst>
        </pc:spChg>
      </pc:sldChg>
      <pc:sldChg chg="new del">
        <pc:chgData name="Axelsson Jenny" userId="35153831-a041-4e19-963c-026d50be729b" providerId="ADAL" clId="{7AA9F7BB-82C3-474B-A8FD-5995DFFA5BA7}" dt="2021-01-25T15:43:31.869" v="34" actId="47"/>
        <pc:sldMkLst>
          <pc:docMk/>
          <pc:sldMk cId="926732441" sldId="321"/>
        </pc:sldMkLst>
      </pc:sldChg>
      <pc:sldChg chg="del">
        <pc:chgData name="Axelsson Jenny" userId="35153831-a041-4e19-963c-026d50be729b" providerId="ADAL" clId="{7AA9F7BB-82C3-474B-A8FD-5995DFFA5BA7}" dt="2021-01-25T15:43:05.383" v="22" actId="47"/>
        <pc:sldMkLst>
          <pc:docMk/>
          <pc:sldMk cId="3363680989" sldId="321"/>
        </pc:sldMkLst>
      </pc:sldChg>
      <pc:sldChg chg="del">
        <pc:chgData name="Axelsson Jenny" userId="35153831-a041-4e19-963c-026d50be729b" providerId="ADAL" clId="{7AA9F7BB-82C3-474B-A8FD-5995DFFA5BA7}" dt="2021-01-25T15:43:06.421" v="24" actId="47"/>
        <pc:sldMkLst>
          <pc:docMk/>
          <pc:sldMk cId="1517455842" sldId="322"/>
        </pc:sldMkLst>
      </pc:sldChg>
      <pc:sldChg chg="modSp add mod">
        <pc:chgData name="Axelsson Jenny" userId="35153831-a041-4e19-963c-026d50be729b" providerId="ADAL" clId="{7AA9F7BB-82C3-474B-A8FD-5995DFFA5BA7}" dt="2021-01-25T15:43:36.307" v="36" actId="113"/>
        <pc:sldMkLst>
          <pc:docMk/>
          <pc:sldMk cId="3939740925" sldId="322"/>
        </pc:sldMkLst>
        <pc:spChg chg="mod">
          <ac:chgData name="Axelsson Jenny" userId="35153831-a041-4e19-963c-026d50be729b" providerId="ADAL" clId="{7AA9F7BB-82C3-474B-A8FD-5995DFFA5BA7}" dt="2021-01-25T15:43:36.307" v="36" actId="113"/>
          <ac:spMkLst>
            <pc:docMk/>
            <pc:sldMk cId="3939740925" sldId="322"/>
            <ac:spMk id="5" creationId="{E66C5368-8331-464F-8C50-5BB97655E8A7}"/>
          </ac:spMkLst>
        </pc:spChg>
      </pc:sldChg>
      <pc:sldChg chg="del">
        <pc:chgData name="Axelsson Jenny" userId="35153831-a041-4e19-963c-026d50be729b" providerId="ADAL" clId="{7AA9F7BB-82C3-474B-A8FD-5995DFFA5BA7}" dt="2021-01-25T15:43:06.965" v="25" actId="47"/>
        <pc:sldMkLst>
          <pc:docMk/>
          <pc:sldMk cId="890174566" sldId="323"/>
        </pc:sldMkLst>
      </pc:sldChg>
      <pc:sldChg chg="del">
        <pc:chgData name="Axelsson Jenny" userId="35153831-a041-4e19-963c-026d50be729b" providerId="ADAL" clId="{7AA9F7BB-82C3-474B-A8FD-5995DFFA5BA7}" dt="2021-01-25T15:43:07.561" v="26" actId="47"/>
        <pc:sldMkLst>
          <pc:docMk/>
          <pc:sldMk cId="4117068346" sldId="324"/>
        </pc:sldMkLst>
      </pc:sldChg>
      <pc:sldChg chg="del">
        <pc:chgData name="Axelsson Jenny" userId="35153831-a041-4e19-963c-026d50be729b" providerId="ADAL" clId="{7AA9F7BB-82C3-474B-A8FD-5995DFFA5BA7}" dt="2021-01-25T15:43:09.117" v="28" actId="47"/>
        <pc:sldMkLst>
          <pc:docMk/>
          <pc:sldMk cId="3697135425" sldId="325"/>
        </pc:sldMkLst>
      </pc:sldChg>
      <pc:sldChg chg="del">
        <pc:chgData name="Axelsson Jenny" userId="35153831-a041-4e19-963c-026d50be729b" providerId="ADAL" clId="{7AA9F7BB-82C3-474B-A8FD-5995DFFA5BA7}" dt="2021-01-25T15:43:05.942" v="23" actId="47"/>
        <pc:sldMkLst>
          <pc:docMk/>
          <pc:sldMk cId="2246295903" sldId="326"/>
        </pc:sldMkLst>
      </pc:sldChg>
      <pc:sldChg chg="del">
        <pc:chgData name="Axelsson Jenny" userId="35153831-a041-4e19-963c-026d50be729b" providerId="ADAL" clId="{7AA9F7BB-82C3-474B-A8FD-5995DFFA5BA7}" dt="2021-01-25T15:43:08.451" v="27" actId="47"/>
        <pc:sldMkLst>
          <pc:docMk/>
          <pc:sldMk cId="3494306671" sldId="327"/>
        </pc:sldMkLst>
      </pc:sldChg>
      <pc:sldChg chg="del">
        <pc:chgData name="Axelsson Jenny" userId="35153831-a041-4e19-963c-026d50be729b" providerId="ADAL" clId="{7AA9F7BB-82C3-474B-A8FD-5995DFFA5BA7}" dt="2021-01-25T15:43:09.971" v="29" actId="47"/>
        <pc:sldMkLst>
          <pc:docMk/>
          <pc:sldMk cId="2193998561" sldId="329"/>
        </pc:sldMkLst>
      </pc:sldChg>
    </pc:docChg>
  </pc:docChgLst>
  <pc:docChgLst>
    <pc:chgData name="Axelsson Jenny" userId="35153831-a041-4e19-963c-026d50be729b" providerId="ADAL" clId="{E13E8E90-C544-49FA-9866-52FD4354F3CB}"/>
    <pc:docChg chg="undo custSel addSld modSld">
      <pc:chgData name="Axelsson Jenny" userId="35153831-a041-4e19-963c-026d50be729b" providerId="ADAL" clId="{E13E8E90-C544-49FA-9866-52FD4354F3CB}" dt="2022-02-04T10:52:01.609" v="2715" actId="20577"/>
      <pc:docMkLst>
        <pc:docMk/>
      </pc:docMkLst>
      <pc:sldChg chg="modSp mod">
        <pc:chgData name="Axelsson Jenny" userId="35153831-a041-4e19-963c-026d50be729b" providerId="ADAL" clId="{E13E8E90-C544-49FA-9866-52FD4354F3CB}" dt="2022-02-03T12:33:15.976" v="67" actId="20577"/>
        <pc:sldMkLst>
          <pc:docMk/>
          <pc:sldMk cId="3738514320" sldId="327"/>
        </pc:sldMkLst>
        <pc:spChg chg="mod">
          <ac:chgData name="Axelsson Jenny" userId="35153831-a041-4e19-963c-026d50be729b" providerId="ADAL" clId="{E13E8E90-C544-49FA-9866-52FD4354F3CB}" dt="2022-02-03T12:33:15.976" v="67" actId="20577"/>
          <ac:spMkLst>
            <pc:docMk/>
            <pc:sldMk cId="3738514320" sldId="327"/>
            <ac:spMk id="5" creationId="{BC5C837C-7D53-4E50-BDC1-752E6FCF03A0}"/>
          </ac:spMkLst>
        </pc:spChg>
      </pc:sldChg>
      <pc:sldChg chg="modSp new mod">
        <pc:chgData name="Axelsson Jenny" userId="35153831-a041-4e19-963c-026d50be729b" providerId="ADAL" clId="{E13E8E90-C544-49FA-9866-52FD4354F3CB}" dt="2022-02-03T13:38:56.257" v="2646" actId="5793"/>
        <pc:sldMkLst>
          <pc:docMk/>
          <pc:sldMk cId="991745743" sldId="343"/>
        </pc:sldMkLst>
        <pc:spChg chg="mod">
          <ac:chgData name="Axelsson Jenny" userId="35153831-a041-4e19-963c-026d50be729b" providerId="ADAL" clId="{E13E8E90-C544-49FA-9866-52FD4354F3CB}" dt="2022-02-03T12:36:27.351" v="305" actId="20577"/>
          <ac:spMkLst>
            <pc:docMk/>
            <pc:sldMk cId="991745743" sldId="343"/>
            <ac:spMk id="2" creationId="{30808123-063B-4DB0-B897-DE5B2B4FF53F}"/>
          </ac:spMkLst>
        </pc:spChg>
        <pc:spChg chg="mod">
          <ac:chgData name="Axelsson Jenny" userId="35153831-a041-4e19-963c-026d50be729b" providerId="ADAL" clId="{E13E8E90-C544-49FA-9866-52FD4354F3CB}" dt="2022-02-03T13:38:56.257" v="2646" actId="5793"/>
          <ac:spMkLst>
            <pc:docMk/>
            <pc:sldMk cId="991745743" sldId="343"/>
            <ac:spMk id="3" creationId="{1ABE8D8A-7659-4E69-AD39-913A87E47500}"/>
          </ac:spMkLst>
        </pc:spChg>
      </pc:sldChg>
      <pc:sldChg chg="modSp new mod">
        <pc:chgData name="Axelsson Jenny" userId="35153831-a041-4e19-963c-026d50be729b" providerId="ADAL" clId="{E13E8E90-C544-49FA-9866-52FD4354F3CB}" dt="2022-02-04T10:52:01.609" v="2715" actId="20577"/>
        <pc:sldMkLst>
          <pc:docMk/>
          <pc:sldMk cId="2556717896" sldId="344"/>
        </pc:sldMkLst>
        <pc:spChg chg="mod">
          <ac:chgData name="Axelsson Jenny" userId="35153831-a041-4e19-963c-026d50be729b" providerId="ADAL" clId="{E13E8E90-C544-49FA-9866-52FD4354F3CB}" dt="2022-02-03T12:56:45.304" v="1844" actId="20577"/>
          <ac:spMkLst>
            <pc:docMk/>
            <pc:sldMk cId="2556717896" sldId="344"/>
            <ac:spMk id="2" creationId="{F173ED68-00AA-4FC3-819C-3693D9E20547}"/>
          </ac:spMkLst>
        </pc:spChg>
        <pc:spChg chg="mod">
          <ac:chgData name="Axelsson Jenny" userId="35153831-a041-4e19-963c-026d50be729b" providerId="ADAL" clId="{E13E8E90-C544-49FA-9866-52FD4354F3CB}" dt="2022-02-04T10:52:01.609" v="2715" actId="20577"/>
          <ac:spMkLst>
            <pc:docMk/>
            <pc:sldMk cId="2556717896" sldId="344"/>
            <ac:spMk id="3" creationId="{D58DB3E1-07BF-4591-BC44-32B12857E59E}"/>
          </ac:spMkLst>
        </pc:spChg>
      </pc:sldChg>
      <pc:sldChg chg="modSp new mod">
        <pc:chgData name="Axelsson Jenny" userId="35153831-a041-4e19-963c-026d50be729b" providerId="ADAL" clId="{E13E8E90-C544-49FA-9866-52FD4354F3CB}" dt="2022-02-03T13:45:13.636" v="2692" actId="20577"/>
        <pc:sldMkLst>
          <pc:docMk/>
          <pc:sldMk cId="3358880838" sldId="345"/>
        </pc:sldMkLst>
        <pc:spChg chg="mod">
          <ac:chgData name="Axelsson Jenny" userId="35153831-a041-4e19-963c-026d50be729b" providerId="ADAL" clId="{E13E8E90-C544-49FA-9866-52FD4354F3CB}" dt="2022-02-03T12:57:09.641" v="1862" actId="20577"/>
          <ac:spMkLst>
            <pc:docMk/>
            <pc:sldMk cId="3358880838" sldId="345"/>
            <ac:spMk id="2" creationId="{96DB65EE-9CDB-4A56-B386-1C54EC2E7430}"/>
          </ac:spMkLst>
        </pc:spChg>
        <pc:spChg chg="mod">
          <ac:chgData name="Axelsson Jenny" userId="35153831-a041-4e19-963c-026d50be729b" providerId="ADAL" clId="{E13E8E90-C544-49FA-9866-52FD4354F3CB}" dt="2022-02-03T13:45:13.636" v="2692" actId="20577"/>
          <ac:spMkLst>
            <pc:docMk/>
            <pc:sldMk cId="3358880838" sldId="345"/>
            <ac:spMk id="3" creationId="{34122CC9-182F-4B4C-A179-EED0DCD9909D}"/>
          </ac:spMkLst>
        </pc:spChg>
      </pc:sldChg>
      <pc:sldChg chg="addSp delSp modSp new mod">
        <pc:chgData name="Axelsson Jenny" userId="35153831-a041-4e19-963c-026d50be729b" providerId="ADAL" clId="{E13E8E90-C544-49FA-9866-52FD4354F3CB}" dt="2022-02-03T13:49:59.125" v="2696" actId="478"/>
        <pc:sldMkLst>
          <pc:docMk/>
          <pc:sldMk cId="415153516" sldId="346"/>
        </pc:sldMkLst>
        <pc:spChg chg="mod">
          <ac:chgData name="Axelsson Jenny" userId="35153831-a041-4e19-963c-026d50be729b" providerId="ADAL" clId="{E13E8E90-C544-49FA-9866-52FD4354F3CB}" dt="2022-02-03T13:37:28.608" v="2525" actId="20577"/>
          <ac:spMkLst>
            <pc:docMk/>
            <pc:sldMk cId="415153516" sldId="346"/>
            <ac:spMk id="2" creationId="{9D201A92-2CBF-460E-9BF4-10D7E8767256}"/>
          </ac:spMkLst>
        </pc:spChg>
        <pc:spChg chg="mod">
          <ac:chgData name="Axelsson Jenny" userId="35153831-a041-4e19-963c-026d50be729b" providerId="ADAL" clId="{E13E8E90-C544-49FA-9866-52FD4354F3CB}" dt="2022-02-03T13:42:21.776" v="2657" actId="6549"/>
          <ac:spMkLst>
            <pc:docMk/>
            <pc:sldMk cId="415153516" sldId="346"/>
            <ac:spMk id="3" creationId="{2CE65C7C-0D66-4AD0-AABA-1B06370EA151}"/>
          </ac:spMkLst>
        </pc:spChg>
        <pc:picChg chg="add del mod">
          <ac:chgData name="Axelsson Jenny" userId="35153831-a041-4e19-963c-026d50be729b" providerId="ADAL" clId="{E13E8E90-C544-49FA-9866-52FD4354F3CB}" dt="2022-02-03T13:49:59.125" v="2696" actId="478"/>
          <ac:picMkLst>
            <pc:docMk/>
            <pc:sldMk cId="415153516" sldId="346"/>
            <ac:picMk id="7" creationId="{98F0F641-1A82-4680-8E2A-E6FDE37B6DED}"/>
          </ac:picMkLst>
        </pc:picChg>
      </pc:sldChg>
      <pc:sldChg chg="addSp modSp new mod">
        <pc:chgData name="Axelsson Jenny" userId="35153831-a041-4e19-963c-026d50be729b" providerId="ADAL" clId="{E13E8E90-C544-49FA-9866-52FD4354F3CB}" dt="2022-02-03T15:34:11.229" v="2700" actId="1076"/>
        <pc:sldMkLst>
          <pc:docMk/>
          <pc:sldMk cId="2078479713" sldId="347"/>
        </pc:sldMkLst>
        <pc:spChg chg="mod">
          <ac:chgData name="Axelsson Jenny" userId="35153831-a041-4e19-963c-026d50be729b" providerId="ADAL" clId="{E13E8E90-C544-49FA-9866-52FD4354F3CB}" dt="2022-02-03T13:37:49.498" v="2540" actId="20577"/>
          <ac:spMkLst>
            <pc:docMk/>
            <pc:sldMk cId="2078479713" sldId="347"/>
            <ac:spMk id="2" creationId="{58388996-4E64-44DE-BFE6-620FDF871742}"/>
          </ac:spMkLst>
        </pc:spChg>
        <pc:spChg chg="mod">
          <ac:chgData name="Axelsson Jenny" userId="35153831-a041-4e19-963c-026d50be729b" providerId="ADAL" clId="{E13E8E90-C544-49FA-9866-52FD4354F3CB}" dt="2022-02-03T13:38:09.687" v="2643" actId="20577"/>
          <ac:spMkLst>
            <pc:docMk/>
            <pc:sldMk cId="2078479713" sldId="347"/>
            <ac:spMk id="3" creationId="{23652AF7-1B53-4D9D-A1DF-56850DC8BBAE}"/>
          </ac:spMkLst>
        </pc:spChg>
        <pc:picChg chg="add mod">
          <ac:chgData name="Axelsson Jenny" userId="35153831-a041-4e19-963c-026d50be729b" providerId="ADAL" clId="{E13E8E90-C544-49FA-9866-52FD4354F3CB}" dt="2022-02-03T15:34:11.229" v="2700" actId="1076"/>
          <ac:picMkLst>
            <pc:docMk/>
            <pc:sldMk cId="2078479713" sldId="347"/>
            <ac:picMk id="7" creationId="{A1BF30CB-A6C3-4113-B4AB-94E62AAFB4A1}"/>
          </ac:picMkLst>
        </pc:picChg>
      </pc:sldChg>
      <pc:sldChg chg="addSp delSp modSp new mod">
        <pc:chgData name="Axelsson Jenny" userId="35153831-a041-4e19-963c-026d50be729b" providerId="ADAL" clId="{E13E8E90-C544-49FA-9866-52FD4354F3CB}" dt="2022-02-03T13:40:34.887" v="2652" actId="1076"/>
        <pc:sldMkLst>
          <pc:docMk/>
          <pc:sldMk cId="659618587" sldId="348"/>
        </pc:sldMkLst>
        <pc:spChg chg="mod">
          <ac:chgData name="Axelsson Jenny" userId="35153831-a041-4e19-963c-026d50be729b" providerId="ADAL" clId="{E13E8E90-C544-49FA-9866-52FD4354F3CB}" dt="2022-02-03T13:38:20.007" v="2645"/>
          <ac:spMkLst>
            <pc:docMk/>
            <pc:sldMk cId="659618587" sldId="348"/>
            <ac:spMk id="2" creationId="{4E9DC019-8C6D-4C51-BE4D-C81F9254736F}"/>
          </ac:spMkLst>
        </pc:spChg>
        <pc:spChg chg="del">
          <ac:chgData name="Axelsson Jenny" userId="35153831-a041-4e19-963c-026d50be729b" providerId="ADAL" clId="{E13E8E90-C544-49FA-9866-52FD4354F3CB}" dt="2022-02-03T13:40:24.418" v="2647" actId="22"/>
          <ac:spMkLst>
            <pc:docMk/>
            <pc:sldMk cId="659618587" sldId="348"/>
            <ac:spMk id="3" creationId="{951D0F30-2FB9-4864-B340-5D6206E29EB5}"/>
          </ac:spMkLst>
        </pc:spChg>
        <pc:picChg chg="add mod ord">
          <ac:chgData name="Axelsson Jenny" userId="35153831-a041-4e19-963c-026d50be729b" providerId="ADAL" clId="{E13E8E90-C544-49FA-9866-52FD4354F3CB}" dt="2022-02-03T13:40:34.887" v="2652" actId="1076"/>
          <ac:picMkLst>
            <pc:docMk/>
            <pc:sldMk cId="659618587" sldId="348"/>
            <ac:picMk id="7" creationId="{D90475FF-B6B9-496C-8EF3-0481B8A4E3C9}"/>
          </ac:picMkLst>
        </pc:picChg>
      </pc:sldChg>
      <pc:sldChg chg="addSp delSp modSp new mod">
        <pc:chgData name="Axelsson Jenny" userId="35153831-a041-4e19-963c-026d50be729b" providerId="ADAL" clId="{E13E8E90-C544-49FA-9866-52FD4354F3CB}" dt="2022-02-03T13:50:06.235" v="2698" actId="478"/>
        <pc:sldMkLst>
          <pc:docMk/>
          <pc:sldMk cId="366207789" sldId="349"/>
        </pc:sldMkLst>
        <pc:spChg chg="del">
          <ac:chgData name="Axelsson Jenny" userId="35153831-a041-4e19-963c-026d50be729b" providerId="ADAL" clId="{E13E8E90-C544-49FA-9866-52FD4354F3CB}" dt="2022-02-03T13:50:06.235" v="2698" actId="478"/>
          <ac:spMkLst>
            <pc:docMk/>
            <pc:sldMk cId="366207789" sldId="349"/>
            <ac:spMk id="2" creationId="{2686B3CA-9D6A-42F8-A0FC-13AF38AC15E4}"/>
          </ac:spMkLst>
        </pc:spChg>
        <pc:picChg chg="add mod">
          <ac:chgData name="Axelsson Jenny" userId="35153831-a041-4e19-963c-026d50be729b" providerId="ADAL" clId="{E13E8E90-C544-49FA-9866-52FD4354F3CB}" dt="2022-02-03T13:50:01.105" v="2697"/>
          <ac:picMkLst>
            <pc:docMk/>
            <pc:sldMk cId="366207789" sldId="349"/>
            <ac:picMk id="6" creationId="{48E75168-7435-447C-8E67-734D4BC5143B}"/>
          </ac:picMkLst>
        </pc:picChg>
      </pc:sldChg>
      <pc:sldChg chg="addSp delSp modSp new mod">
        <pc:chgData name="Axelsson Jenny" userId="35153831-a041-4e19-963c-026d50be729b" providerId="ADAL" clId="{E13E8E90-C544-49FA-9866-52FD4354F3CB}" dt="2022-02-03T15:35:09.988" v="2706" actId="1076"/>
        <pc:sldMkLst>
          <pc:docMk/>
          <pc:sldMk cId="1305960437" sldId="350"/>
        </pc:sldMkLst>
        <pc:spChg chg="del">
          <ac:chgData name="Axelsson Jenny" userId="35153831-a041-4e19-963c-026d50be729b" providerId="ADAL" clId="{E13E8E90-C544-49FA-9866-52FD4354F3CB}" dt="2022-02-03T15:34:58.687" v="2703" actId="478"/>
          <ac:spMkLst>
            <pc:docMk/>
            <pc:sldMk cId="1305960437" sldId="350"/>
            <ac:spMk id="2" creationId="{CEFDFF8A-D065-4E60-8BEC-CDB1AFE87E3D}"/>
          </ac:spMkLst>
        </pc:spChg>
        <pc:spChg chg="del">
          <ac:chgData name="Axelsson Jenny" userId="35153831-a041-4e19-963c-026d50be729b" providerId="ADAL" clId="{E13E8E90-C544-49FA-9866-52FD4354F3CB}" dt="2022-02-03T15:34:56.020" v="2702" actId="22"/>
          <ac:spMkLst>
            <pc:docMk/>
            <pc:sldMk cId="1305960437" sldId="350"/>
            <ac:spMk id="3" creationId="{34F94326-D6A2-48B1-9C49-36E3BE24D60C}"/>
          </ac:spMkLst>
        </pc:spChg>
        <pc:picChg chg="add mod ord">
          <ac:chgData name="Axelsson Jenny" userId="35153831-a041-4e19-963c-026d50be729b" providerId="ADAL" clId="{E13E8E90-C544-49FA-9866-52FD4354F3CB}" dt="2022-02-03T15:35:09.988" v="2706" actId="1076"/>
          <ac:picMkLst>
            <pc:docMk/>
            <pc:sldMk cId="1305960437" sldId="350"/>
            <ac:picMk id="7" creationId="{4F395D41-7E33-4A3A-B672-CFABC2BB05BB}"/>
          </ac:picMkLst>
        </pc:picChg>
      </pc:sldChg>
    </pc:docChg>
  </pc:docChgLst>
  <pc:docChgLst>
    <pc:chgData name="Axelsson Jenny" userId="S::jenny.axelsson@inera.se::35153831-a041-4e19-963c-026d50be729b" providerId="AD" clId="Web-{A710C45A-7896-49BB-AF4B-49E57CE106E9}"/>
    <pc:docChg chg="modSld">
      <pc:chgData name="Axelsson Jenny" userId="S::jenny.axelsson@inera.se::35153831-a041-4e19-963c-026d50be729b" providerId="AD" clId="Web-{A710C45A-7896-49BB-AF4B-49E57CE106E9}" dt="2022-01-27T13:33:35.227" v="11" actId="1076"/>
      <pc:docMkLst>
        <pc:docMk/>
      </pc:docMkLst>
      <pc:sldChg chg="modSp">
        <pc:chgData name="Axelsson Jenny" userId="S::jenny.axelsson@inera.se::35153831-a041-4e19-963c-026d50be729b" providerId="AD" clId="Web-{A710C45A-7896-49BB-AF4B-49E57CE106E9}" dt="2022-01-27T13:33:35.227" v="11" actId="1076"/>
        <pc:sldMkLst>
          <pc:docMk/>
          <pc:sldMk cId="3360954613" sldId="331"/>
        </pc:sldMkLst>
        <pc:picChg chg="mod">
          <ac:chgData name="Axelsson Jenny" userId="S::jenny.axelsson@inera.se::35153831-a041-4e19-963c-026d50be729b" providerId="AD" clId="Web-{A710C45A-7896-49BB-AF4B-49E57CE106E9}" dt="2022-01-27T13:33:35.227" v="11" actId="1076"/>
          <ac:picMkLst>
            <pc:docMk/>
            <pc:sldMk cId="3360954613" sldId="331"/>
            <ac:picMk id="12" creationId="{E94F5483-BB19-4147-AC6C-C268B5932EC2}"/>
          </ac:picMkLst>
        </pc:picChg>
      </pc:sldChg>
      <pc:sldChg chg="modSp">
        <pc:chgData name="Axelsson Jenny" userId="S::jenny.axelsson@inera.se::35153831-a041-4e19-963c-026d50be729b" providerId="AD" clId="Web-{A710C45A-7896-49BB-AF4B-49E57CE106E9}" dt="2022-01-27T13:15:37.752" v="2" actId="20577"/>
        <pc:sldMkLst>
          <pc:docMk/>
          <pc:sldMk cId="3838751692" sldId="343"/>
        </pc:sldMkLst>
        <pc:spChg chg="mod">
          <ac:chgData name="Axelsson Jenny" userId="S::jenny.axelsson@inera.se::35153831-a041-4e19-963c-026d50be729b" providerId="AD" clId="Web-{A710C45A-7896-49BB-AF4B-49E57CE106E9}" dt="2022-01-27T13:15:37.752" v="2" actId="20577"/>
          <ac:spMkLst>
            <pc:docMk/>
            <pc:sldMk cId="3838751692" sldId="343"/>
            <ac:spMk id="3" creationId="{891537CF-34EB-491A-AF24-CA6D31DC645D}"/>
          </ac:spMkLst>
        </pc:spChg>
      </pc:sldChg>
      <pc:sldChg chg="modSp">
        <pc:chgData name="Axelsson Jenny" userId="S::jenny.axelsson@inera.se::35153831-a041-4e19-963c-026d50be729b" providerId="AD" clId="Web-{A710C45A-7896-49BB-AF4B-49E57CE106E9}" dt="2022-01-27T13:28:36.474" v="10" actId="20577"/>
        <pc:sldMkLst>
          <pc:docMk/>
          <pc:sldMk cId="1287501561" sldId="350"/>
        </pc:sldMkLst>
        <pc:spChg chg="mod">
          <ac:chgData name="Axelsson Jenny" userId="S::jenny.axelsson@inera.se::35153831-a041-4e19-963c-026d50be729b" providerId="AD" clId="Web-{A710C45A-7896-49BB-AF4B-49E57CE106E9}" dt="2022-01-27T13:28:36.474" v="10" actId="20577"/>
          <ac:spMkLst>
            <pc:docMk/>
            <pc:sldMk cId="1287501561" sldId="350"/>
            <ac:spMk id="3" creationId="{81FABEE2-D3D3-4FC1-A4AD-5357E54D6AF6}"/>
          </ac:spMkLst>
        </pc:spChg>
      </pc:sldChg>
      <pc:sldChg chg="modSp">
        <pc:chgData name="Axelsson Jenny" userId="S::jenny.axelsson@inera.se::35153831-a041-4e19-963c-026d50be729b" providerId="AD" clId="Web-{A710C45A-7896-49BB-AF4B-49E57CE106E9}" dt="2022-01-27T13:26:37.497" v="8" actId="20577"/>
        <pc:sldMkLst>
          <pc:docMk/>
          <pc:sldMk cId="2584752395" sldId="352"/>
        </pc:sldMkLst>
        <pc:spChg chg="mod">
          <ac:chgData name="Axelsson Jenny" userId="S::jenny.axelsson@inera.se::35153831-a041-4e19-963c-026d50be729b" providerId="AD" clId="Web-{A710C45A-7896-49BB-AF4B-49E57CE106E9}" dt="2022-01-27T13:26:37.497" v="8" actId="20577"/>
          <ac:spMkLst>
            <pc:docMk/>
            <pc:sldMk cId="2584752395" sldId="352"/>
            <ac:spMk id="3" creationId="{C8F2940F-8A88-41C7-AF73-B16C3A9CFD24}"/>
          </ac:spMkLst>
        </pc:spChg>
      </pc:sldChg>
      <pc:sldChg chg="modSp">
        <pc:chgData name="Axelsson Jenny" userId="S::jenny.axelsson@inera.se::35153831-a041-4e19-963c-026d50be729b" providerId="AD" clId="Web-{A710C45A-7896-49BB-AF4B-49E57CE106E9}" dt="2022-01-27T13:21:02.679" v="4" actId="20577"/>
        <pc:sldMkLst>
          <pc:docMk/>
          <pc:sldMk cId="1852366786" sldId="356"/>
        </pc:sldMkLst>
        <pc:spChg chg="mod">
          <ac:chgData name="Axelsson Jenny" userId="S::jenny.axelsson@inera.se::35153831-a041-4e19-963c-026d50be729b" providerId="AD" clId="Web-{A710C45A-7896-49BB-AF4B-49E57CE106E9}" dt="2022-01-27T13:21:02.679" v="4" actId="20577"/>
          <ac:spMkLst>
            <pc:docMk/>
            <pc:sldMk cId="1852366786" sldId="356"/>
            <ac:spMk id="3" creationId="{6C1B4C16-DD8B-4F29-BBCD-BE86B33D401F}"/>
          </ac:spMkLst>
        </pc:spChg>
      </pc:sldChg>
    </pc:docChg>
  </pc:docChgLst>
  <pc:docChgLst>
    <pc:chgData name="Axelsson Jenny" userId="S::jenny.axelsson@inera.se::35153831-a041-4e19-963c-026d50be729b" providerId="AD" clId="Web-{C2C655BF-FE61-4CA6-9387-D7E7E18C9E48}"/>
    <pc:docChg chg="modSld">
      <pc:chgData name="Axelsson Jenny" userId="S::jenny.axelsson@inera.se::35153831-a041-4e19-963c-026d50be729b" providerId="AD" clId="Web-{C2C655BF-FE61-4CA6-9387-D7E7E18C9E48}" dt="2022-01-18T15:44:04.895" v="5" actId="20577"/>
      <pc:docMkLst>
        <pc:docMk/>
      </pc:docMkLst>
      <pc:sldChg chg="modSp">
        <pc:chgData name="Axelsson Jenny" userId="S::jenny.axelsson@inera.se::35153831-a041-4e19-963c-026d50be729b" providerId="AD" clId="Web-{C2C655BF-FE61-4CA6-9387-D7E7E18C9E48}" dt="2022-01-18T15:44:04.895" v="5" actId="20577"/>
        <pc:sldMkLst>
          <pc:docMk/>
          <pc:sldMk cId="3738514320" sldId="327"/>
        </pc:sldMkLst>
        <pc:spChg chg="mod">
          <ac:chgData name="Axelsson Jenny" userId="S::jenny.axelsson@inera.se::35153831-a041-4e19-963c-026d50be729b" providerId="AD" clId="Web-{C2C655BF-FE61-4CA6-9387-D7E7E18C9E48}" dt="2022-01-18T15:43:45.847" v="2" actId="20577"/>
          <ac:spMkLst>
            <pc:docMk/>
            <pc:sldMk cId="3738514320" sldId="327"/>
            <ac:spMk id="2" creationId="{0CFCCCF5-BAA9-4E4C-96B6-6829CE835F12}"/>
          </ac:spMkLst>
        </pc:spChg>
        <pc:spChg chg="mod">
          <ac:chgData name="Axelsson Jenny" userId="S::jenny.axelsson@inera.se::35153831-a041-4e19-963c-026d50be729b" providerId="AD" clId="Web-{C2C655BF-FE61-4CA6-9387-D7E7E18C9E48}" dt="2022-01-18T15:44:04.895" v="5" actId="20577"/>
          <ac:spMkLst>
            <pc:docMk/>
            <pc:sldMk cId="3738514320" sldId="327"/>
            <ac:spMk id="5" creationId="{BC5C837C-7D53-4E50-BDC1-752E6FCF03A0}"/>
          </ac:spMkLst>
        </pc:spChg>
      </pc:sldChg>
    </pc:docChg>
  </pc:docChgLst>
  <pc:docChgLst>
    <pc:chgData name="Axelsson Jenny" userId="35153831-a041-4e19-963c-026d50be729b" providerId="ADAL" clId="{2C08962A-E33E-4747-91E9-AEED7E2A5727}"/>
    <pc:docChg chg="undo custSel addSld delSld modSld sldOrd">
      <pc:chgData name="Axelsson Jenny" userId="35153831-a041-4e19-963c-026d50be729b" providerId="ADAL" clId="{2C08962A-E33E-4747-91E9-AEED7E2A5727}" dt="2022-01-26T15:29:26.019" v="5797" actId="20577"/>
      <pc:docMkLst>
        <pc:docMk/>
      </pc:docMkLst>
      <pc:sldChg chg="addSp modSp add mod">
        <pc:chgData name="Axelsson Jenny" userId="35153831-a041-4e19-963c-026d50be729b" providerId="ADAL" clId="{2C08962A-E33E-4747-91E9-AEED7E2A5727}" dt="2022-01-24T17:33:28.471" v="2619" actId="1076"/>
        <pc:sldMkLst>
          <pc:docMk/>
          <pc:sldMk cId="1968099606" sldId="298"/>
        </pc:sldMkLst>
        <pc:spChg chg="mod ord">
          <ac:chgData name="Axelsson Jenny" userId="35153831-a041-4e19-963c-026d50be729b" providerId="ADAL" clId="{2C08962A-E33E-4747-91E9-AEED7E2A5727}" dt="2022-01-24T17:22:33.133" v="1551" actId="166"/>
          <ac:spMkLst>
            <pc:docMk/>
            <pc:sldMk cId="1968099606" sldId="298"/>
            <ac:spMk id="4" creationId="{049E40AD-1B75-43EC-BB97-8C16FEB861FD}"/>
          </ac:spMkLst>
        </pc:spChg>
        <pc:spChg chg="add mod">
          <ac:chgData name="Axelsson Jenny" userId="35153831-a041-4e19-963c-026d50be729b" providerId="ADAL" clId="{2C08962A-E33E-4747-91E9-AEED7E2A5727}" dt="2022-01-24T17:33:19.142" v="2617" actId="14100"/>
          <ac:spMkLst>
            <pc:docMk/>
            <pc:sldMk cId="1968099606" sldId="298"/>
            <ac:spMk id="6" creationId="{C12AA6AE-CAD7-452E-805F-C934315173B5}"/>
          </ac:spMkLst>
        </pc:spChg>
        <pc:spChg chg="mod">
          <ac:chgData name="Axelsson Jenny" userId="35153831-a041-4e19-963c-026d50be729b" providerId="ADAL" clId="{2C08962A-E33E-4747-91E9-AEED7E2A5727}" dt="2022-01-24T17:33:26.278" v="2618" actId="1076"/>
          <ac:spMkLst>
            <pc:docMk/>
            <pc:sldMk cId="1968099606" sldId="298"/>
            <ac:spMk id="22" creationId="{0C5E0F35-FE4C-47BA-AC07-78122466324F}"/>
          </ac:spMkLst>
        </pc:spChg>
        <pc:spChg chg="mod">
          <ac:chgData name="Axelsson Jenny" userId="35153831-a041-4e19-963c-026d50be729b" providerId="ADAL" clId="{2C08962A-E33E-4747-91E9-AEED7E2A5727}" dt="2022-01-24T17:33:28.471" v="2619" actId="1076"/>
          <ac:spMkLst>
            <pc:docMk/>
            <pc:sldMk cId="1968099606" sldId="298"/>
            <ac:spMk id="26" creationId="{25B2AF5D-6B51-4740-821D-2F9DBF62005E}"/>
          </ac:spMkLst>
        </pc:spChg>
      </pc:sldChg>
      <pc:sldChg chg="modSp del mod">
        <pc:chgData name="Axelsson Jenny" userId="35153831-a041-4e19-963c-026d50be729b" providerId="ADAL" clId="{2C08962A-E33E-4747-91E9-AEED7E2A5727}" dt="2022-01-24T17:15:04.404" v="1445" actId="47"/>
        <pc:sldMkLst>
          <pc:docMk/>
          <pc:sldMk cId="3958321542" sldId="324"/>
        </pc:sldMkLst>
        <pc:spChg chg="mod">
          <ac:chgData name="Axelsson Jenny" userId="35153831-a041-4e19-963c-026d50be729b" providerId="ADAL" clId="{2C08962A-E33E-4747-91E9-AEED7E2A5727}" dt="2022-01-24T12:43:13.166" v="369"/>
          <ac:spMkLst>
            <pc:docMk/>
            <pc:sldMk cId="3958321542" sldId="324"/>
            <ac:spMk id="5" creationId="{B951F6A0-030F-4C27-83E0-D4EB1A55B331}"/>
          </ac:spMkLst>
        </pc:spChg>
      </pc:sldChg>
      <pc:sldChg chg="modSp mod">
        <pc:chgData name="Axelsson Jenny" userId="35153831-a041-4e19-963c-026d50be729b" providerId="ADAL" clId="{2C08962A-E33E-4747-91E9-AEED7E2A5727}" dt="2022-01-24T12:47:09.115" v="474" actId="20577"/>
        <pc:sldMkLst>
          <pc:docMk/>
          <pc:sldMk cId="3738514320" sldId="327"/>
        </pc:sldMkLst>
        <pc:spChg chg="mod">
          <ac:chgData name="Axelsson Jenny" userId="35153831-a041-4e19-963c-026d50be729b" providerId="ADAL" clId="{2C08962A-E33E-4747-91E9-AEED7E2A5727}" dt="2022-01-24T12:36:37.203" v="319" actId="1076"/>
          <ac:spMkLst>
            <pc:docMk/>
            <pc:sldMk cId="3738514320" sldId="327"/>
            <ac:spMk id="2" creationId="{0CFCCCF5-BAA9-4E4C-96B6-6829CE835F12}"/>
          </ac:spMkLst>
        </pc:spChg>
        <pc:spChg chg="mod">
          <ac:chgData name="Axelsson Jenny" userId="35153831-a041-4e19-963c-026d50be729b" providerId="ADAL" clId="{2C08962A-E33E-4747-91E9-AEED7E2A5727}" dt="2022-01-24T12:47:09.115" v="474" actId="20577"/>
          <ac:spMkLst>
            <pc:docMk/>
            <pc:sldMk cId="3738514320" sldId="327"/>
            <ac:spMk id="5" creationId="{BC5C837C-7D53-4E50-BDC1-752E6FCF03A0}"/>
          </ac:spMkLst>
        </pc:spChg>
      </pc:sldChg>
      <pc:sldChg chg="modSp mod">
        <pc:chgData name="Axelsson Jenny" userId="35153831-a041-4e19-963c-026d50be729b" providerId="ADAL" clId="{2C08962A-E33E-4747-91E9-AEED7E2A5727}" dt="2022-01-24T12:46:59.157" v="447" actId="6549"/>
        <pc:sldMkLst>
          <pc:docMk/>
          <pc:sldMk cId="4158201782" sldId="328"/>
        </pc:sldMkLst>
        <pc:spChg chg="mod">
          <ac:chgData name="Axelsson Jenny" userId="35153831-a041-4e19-963c-026d50be729b" providerId="ADAL" clId="{2C08962A-E33E-4747-91E9-AEED7E2A5727}" dt="2022-01-24T12:46:59.157" v="447" actId="6549"/>
          <ac:spMkLst>
            <pc:docMk/>
            <pc:sldMk cId="4158201782" sldId="328"/>
            <ac:spMk id="5" creationId="{BC5C837C-7D53-4E50-BDC1-752E6FCF03A0}"/>
          </ac:spMkLst>
        </pc:spChg>
      </pc:sldChg>
      <pc:sldChg chg="del">
        <pc:chgData name="Axelsson Jenny" userId="35153831-a041-4e19-963c-026d50be729b" providerId="ADAL" clId="{2C08962A-E33E-4747-91E9-AEED7E2A5727}" dt="2022-01-24T12:43:29.187" v="370" actId="47"/>
        <pc:sldMkLst>
          <pc:docMk/>
          <pc:sldMk cId="4095140548" sldId="329"/>
        </pc:sldMkLst>
      </pc:sldChg>
      <pc:sldChg chg="modSp mod">
        <pc:chgData name="Axelsson Jenny" userId="35153831-a041-4e19-963c-026d50be729b" providerId="ADAL" clId="{2C08962A-E33E-4747-91E9-AEED7E2A5727}" dt="2022-01-25T09:53:37.091" v="2820" actId="20577"/>
        <pc:sldMkLst>
          <pc:docMk/>
          <pc:sldMk cId="1360158982" sldId="330"/>
        </pc:sldMkLst>
        <pc:spChg chg="mod">
          <ac:chgData name="Axelsson Jenny" userId="35153831-a041-4e19-963c-026d50be729b" providerId="ADAL" clId="{2C08962A-E33E-4747-91E9-AEED7E2A5727}" dt="2022-01-25T09:53:37.091" v="2820" actId="20577"/>
          <ac:spMkLst>
            <pc:docMk/>
            <pc:sldMk cId="1360158982" sldId="330"/>
            <ac:spMk id="3" creationId="{1AAB8481-586E-4F1C-90EA-BDE3653B7E5D}"/>
          </ac:spMkLst>
        </pc:spChg>
      </pc:sldChg>
      <pc:sldChg chg="addSp delSp modSp mod modClrScheme chgLayout">
        <pc:chgData name="Axelsson Jenny" userId="35153831-a041-4e19-963c-026d50be729b" providerId="ADAL" clId="{2C08962A-E33E-4747-91E9-AEED7E2A5727}" dt="2022-01-26T07:45:00.959" v="3143" actId="20577"/>
        <pc:sldMkLst>
          <pc:docMk/>
          <pc:sldMk cId="3360954613" sldId="331"/>
        </pc:sldMkLst>
        <pc:spChg chg="mod ord">
          <ac:chgData name="Axelsson Jenny" userId="35153831-a041-4e19-963c-026d50be729b" providerId="ADAL" clId="{2C08962A-E33E-4747-91E9-AEED7E2A5727}" dt="2022-01-26T07:39:55.927" v="3031" actId="700"/>
          <ac:spMkLst>
            <pc:docMk/>
            <pc:sldMk cId="3360954613" sldId="331"/>
            <ac:spMk id="2" creationId="{1F77B94E-A839-40B6-9C34-9A42B529A3FF}"/>
          </ac:spMkLst>
        </pc:spChg>
        <pc:spChg chg="mod ord">
          <ac:chgData name="Axelsson Jenny" userId="35153831-a041-4e19-963c-026d50be729b" providerId="ADAL" clId="{2C08962A-E33E-4747-91E9-AEED7E2A5727}" dt="2022-01-26T07:39:55.927" v="3031" actId="700"/>
          <ac:spMkLst>
            <pc:docMk/>
            <pc:sldMk cId="3360954613" sldId="331"/>
            <ac:spMk id="4" creationId="{7225B4F0-A5E8-457B-BEB3-BFAA1E957B23}"/>
          </ac:spMkLst>
        </pc:spChg>
        <pc:spChg chg="mod ord">
          <ac:chgData name="Axelsson Jenny" userId="35153831-a041-4e19-963c-026d50be729b" providerId="ADAL" clId="{2C08962A-E33E-4747-91E9-AEED7E2A5727}" dt="2022-01-26T07:39:55.927" v="3031" actId="700"/>
          <ac:spMkLst>
            <pc:docMk/>
            <pc:sldMk cId="3360954613" sldId="331"/>
            <ac:spMk id="5" creationId="{19CAA173-FFF8-4C1A-A445-4511F72B31CF}"/>
          </ac:spMkLst>
        </pc:spChg>
        <pc:spChg chg="add mod ord">
          <ac:chgData name="Axelsson Jenny" userId="35153831-a041-4e19-963c-026d50be729b" providerId="ADAL" clId="{2C08962A-E33E-4747-91E9-AEED7E2A5727}" dt="2022-01-26T07:45:00.959" v="3143" actId="20577"/>
          <ac:spMkLst>
            <pc:docMk/>
            <pc:sldMk cId="3360954613" sldId="331"/>
            <ac:spMk id="6" creationId="{A93D5578-DE64-44DF-8C16-70B01ECF8A48}"/>
          </ac:spMkLst>
        </pc:spChg>
        <pc:spChg chg="add del mod ord">
          <ac:chgData name="Axelsson Jenny" userId="35153831-a041-4e19-963c-026d50be729b" providerId="ADAL" clId="{2C08962A-E33E-4747-91E9-AEED7E2A5727}" dt="2022-01-26T07:42:48.430" v="3040" actId="478"/>
          <ac:spMkLst>
            <pc:docMk/>
            <pc:sldMk cId="3360954613" sldId="331"/>
            <ac:spMk id="7" creationId="{87FD75B8-622D-4079-A5B1-97FA1D19836E}"/>
          </ac:spMkLst>
        </pc:spChg>
        <pc:picChg chg="del">
          <ac:chgData name="Axelsson Jenny" userId="35153831-a041-4e19-963c-026d50be729b" providerId="ADAL" clId="{2C08962A-E33E-4747-91E9-AEED7E2A5727}" dt="2022-01-25T14:58:11.747" v="2915" actId="478"/>
          <ac:picMkLst>
            <pc:docMk/>
            <pc:sldMk cId="3360954613" sldId="331"/>
            <ac:picMk id="9" creationId="{1BE745B8-CD30-4C0B-B6F2-94ACAEB7E430}"/>
          </ac:picMkLst>
        </pc:picChg>
        <pc:picChg chg="add del mod">
          <ac:chgData name="Axelsson Jenny" userId="35153831-a041-4e19-963c-026d50be729b" providerId="ADAL" clId="{2C08962A-E33E-4747-91E9-AEED7E2A5727}" dt="2022-01-26T07:43:22.742" v="3042" actId="478"/>
          <ac:picMkLst>
            <pc:docMk/>
            <pc:sldMk cId="3360954613" sldId="331"/>
            <ac:picMk id="10" creationId="{F98D8F9E-A97D-492F-9AE7-3F6EC447E3C8}"/>
          </ac:picMkLst>
        </pc:picChg>
        <pc:picChg chg="add mod">
          <ac:chgData name="Axelsson Jenny" userId="35153831-a041-4e19-963c-026d50be729b" providerId="ADAL" clId="{2C08962A-E33E-4747-91E9-AEED7E2A5727}" dt="2022-01-26T07:43:34.637" v="3047" actId="1076"/>
          <ac:picMkLst>
            <pc:docMk/>
            <pc:sldMk cId="3360954613" sldId="331"/>
            <ac:picMk id="12" creationId="{E94F5483-BB19-4147-AC6C-C268B5932EC2}"/>
          </ac:picMkLst>
        </pc:picChg>
      </pc:sldChg>
      <pc:sldChg chg="modSp add mod">
        <pc:chgData name="Axelsson Jenny" userId="35153831-a041-4e19-963c-026d50be729b" providerId="ADAL" clId="{2C08962A-E33E-4747-91E9-AEED7E2A5727}" dt="2022-01-24T12:46:52.243" v="444" actId="6549"/>
        <pc:sldMkLst>
          <pc:docMk/>
          <pc:sldMk cId="2417745813" sldId="332"/>
        </pc:sldMkLst>
        <pc:spChg chg="mod">
          <ac:chgData name="Axelsson Jenny" userId="35153831-a041-4e19-963c-026d50be729b" providerId="ADAL" clId="{2C08962A-E33E-4747-91E9-AEED7E2A5727}" dt="2022-01-24T12:46:52.243" v="444" actId="6549"/>
          <ac:spMkLst>
            <pc:docMk/>
            <pc:sldMk cId="2417745813" sldId="332"/>
            <ac:spMk id="5" creationId="{BC5C837C-7D53-4E50-BDC1-752E6FCF03A0}"/>
          </ac:spMkLst>
        </pc:spChg>
      </pc:sldChg>
      <pc:sldChg chg="modSp add mod">
        <pc:chgData name="Axelsson Jenny" userId="35153831-a041-4e19-963c-026d50be729b" providerId="ADAL" clId="{2C08962A-E33E-4747-91E9-AEED7E2A5727}" dt="2022-01-24T12:48:49.936" v="548" actId="20577"/>
        <pc:sldMkLst>
          <pc:docMk/>
          <pc:sldMk cId="3339312327" sldId="333"/>
        </pc:sldMkLst>
        <pc:spChg chg="mod">
          <ac:chgData name="Axelsson Jenny" userId="35153831-a041-4e19-963c-026d50be729b" providerId="ADAL" clId="{2C08962A-E33E-4747-91E9-AEED7E2A5727}" dt="2022-01-24T12:48:49.936" v="548" actId="20577"/>
          <ac:spMkLst>
            <pc:docMk/>
            <pc:sldMk cId="3339312327" sldId="333"/>
            <ac:spMk id="5" creationId="{BC5C837C-7D53-4E50-BDC1-752E6FCF03A0}"/>
          </ac:spMkLst>
        </pc:spChg>
      </pc:sldChg>
      <pc:sldChg chg="addSp delSp modSp add mod">
        <pc:chgData name="Axelsson Jenny" userId="35153831-a041-4e19-963c-026d50be729b" providerId="ADAL" clId="{2C08962A-E33E-4747-91E9-AEED7E2A5727}" dt="2022-01-24T17:18:28.445" v="1469"/>
        <pc:sldMkLst>
          <pc:docMk/>
          <pc:sldMk cId="3278939599" sldId="334"/>
        </pc:sldMkLst>
        <pc:spChg chg="mod">
          <ac:chgData name="Axelsson Jenny" userId="35153831-a041-4e19-963c-026d50be729b" providerId="ADAL" clId="{2C08962A-E33E-4747-91E9-AEED7E2A5727}" dt="2022-01-24T12:46:38.863" v="438" actId="6549"/>
          <ac:spMkLst>
            <pc:docMk/>
            <pc:sldMk cId="3278939599" sldId="334"/>
            <ac:spMk id="5" creationId="{BC5C837C-7D53-4E50-BDC1-752E6FCF03A0}"/>
          </ac:spMkLst>
        </pc:spChg>
        <pc:picChg chg="add del mod">
          <ac:chgData name="Axelsson Jenny" userId="35153831-a041-4e19-963c-026d50be729b" providerId="ADAL" clId="{2C08962A-E33E-4747-91E9-AEED7E2A5727}" dt="2022-01-24T17:18:28.445" v="1469"/>
          <ac:picMkLst>
            <pc:docMk/>
            <pc:sldMk cId="3278939599" sldId="334"/>
            <ac:picMk id="6" creationId="{880BD77A-4C62-450C-835F-EB8A91E71C4D}"/>
          </ac:picMkLst>
        </pc:picChg>
      </pc:sldChg>
      <pc:sldChg chg="addSp delSp modSp new del mod modClrScheme chgLayout">
        <pc:chgData name="Axelsson Jenny" userId="35153831-a041-4e19-963c-026d50be729b" providerId="ADAL" clId="{2C08962A-E33E-4747-91E9-AEED7E2A5727}" dt="2022-01-24T17:22:06.057" v="1498" actId="47"/>
        <pc:sldMkLst>
          <pc:docMk/>
          <pc:sldMk cId="1387739986" sldId="335"/>
        </pc:sldMkLst>
        <pc:spChg chg="mod ord">
          <ac:chgData name="Axelsson Jenny" userId="35153831-a041-4e19-963c-026d50be729b" providerId="ADAL" clId="{2C08962A-E33E-4747-91E9-AEED7E2A5727}" dt="2022-01-24T17:18:46.219" v="1472" actId="1076"/>
          <ac:spMkLst>
            <pc:docMk/>
            <pc:sldMk cId="1387739986" sldId="335"/>
            <ac:spMk id="2" creationId="{A707332E-CF21-402B-A7FB-D79B4F44060E}"/>
          </ac:spMkLst>
        </pc:spChg>
        <pc:spChg chg="del mod ord">
          <ac:chgData name="Axelsson Jenny" userId="35153831-a041-4e19-963c-026d50be729b" providerId="ADAL" clId="{2C08962A-E33E-4747-91E9-AEED7E2A5727}" dt="2022-01-24T17:19:18.068" v="1477" actId="478"/>
          <ac:spMkLst>
            <pc:docMk/>
            <pc:sldMk cId="1387739986" sldId="335"/>
            <ac:spMk id="3" creationId="{B538C3B1-F27C-4BEF-93E7-26526904DAB5}"/>
          </ac:spMkLst>
        </pc:spChg>
        <pc:spChg chg="del">
          <ac:chgData name="Axelsson Jenny" userId="35153831-a041-4e19-963c-026d50be729b" providerId="ADAL" clId="{2C08962A-E33E-4747-91E9-AEED7E2A5727}" dt="2022-01-24T17:15:39.187" v="1457" actId="700"/>
          <ac:spMkLst>
            <pc:docMk/>
            <pc:sldMk cId="1387739986" sldId="335"/>
            <ac:spMk id="4" creationId="{79F15ACA-DB68-47E7-B143-19CB075D0484}"/>
          </ac:spMkLst>
        </pc:spChg>
        <pc:spChg chg="mod ord">
          <ac:chgData name="Axelsson Jenny" userId="35153831-a041-4e19-963c-026d50be729b" providerId="ADAL" clId="{2C08962A-E33E-4747-91E9-AEED7E2A5727}" dt="2022-01-24T17:19:46.636" v="1483" actId="14100"/>
          <ac:spMkLst>
            <pc:docMk/>
            <pc:sldMk cId="1387739986" sldId="335"/>
            <ac:spMk id="5" creationId="{097EE46B-03E3-497F-9323-CF0C8DC859D8}"/>
          </ac:spMkLst>
        </pc:spChg>
        <pc:spChg chg="add del mod ord">
          <ac:chgData name="Axelsson Jenny" userId="35153831-a041-4e19-963c-026d50be729b" providerId="ADAL" clId="{2C08962A-E33E-4747-91E9-AEED7E2A5727}" dt="2022-01-24T17:15:52.812" v="1458" actId="700"/>
          <ac:spMkLst>
            <pc:docMk/>
            <pc:sldMk cId="1387739986" sldId="335"/>
            <ac:spMk id="6" creationId="{C962053D-3281-478F-AB03-E10ECFEEDC51}"/>
          </ac:spMkLst>
        </pc:spChg>
        <pc:spChg chg="add del mod ord">
          <ac:chgData name="Axelsson Jenny" userId="35153831-a041-4e19-963c-026d50be729b" providerId="ADAL" clId="{2C08962A-E33E-4747-91E9-AEED7E2A5727}" dt="2022-01-24T17:16:46.142" v="1462"/>
          <ac:spMkLst>
            <pc:docMk/>
            <pc:sldMk cId="1387739986" sldId="335"/>
            <ac:spMk id="7" creationId="{166B5934-F6FF-4906-B9C1-B75CECDE3599}"/>
          </ac:spMkLst>
        </pc:spChg>
        <pc:spChg chg="add del mod">
          <ac:chgData name="Axelsson Jenny" userId="35153831-a041-4e19-963c-026d50be729b" providerId="ADAL" clId="{2C08962A-E33E-4747-91E9-AEED7E2A5727}" dt="2022-01-24T17:17:52.540" v="1466" actId="931"/>
          <ac:spMkLst>
            <pc:docMk/>
            <pc:sldMk cId="1387739986" sldId="335"/>
            <ac:spMk id="10" creationId="{E2D5A8E5-29A2-4AB9-B3F4-2D213E2AFF70}"/>
          </ac:spMkLst>
        </pc:spChg>
        <pc:spChg chg="add del mod">
          <ac:chgData name="Axelsson Jenny" userId="35153831-a041-4e19-963c-026d50be729b" providerId="ADAL" clId="{2C08962A-E33E-4747-91E9-AEED7E2A5727}" dt="2022-01-24T17:18:35.652" v="1470"/>
          <ac:spMkLst>
            <pc:docMk/>
            <pc:sldMk cId="1387739986" sldId="335"/>
            <ac:spMk id="14" creationId="{561AD6FF-8DD8-4059-A1B4-DF0D6D7FED16}"/>
          </ac:spMkLst>
        </pc:spChg>
        <pc:spChg chg="add del mod">
          <ac:chgData name="Axelsson Jenny" userId="35153831-a041-4e19-963c-026d50be729b" providerId="ADAL" clId="{2C08962A-E33E-4747-91E9-AEED7E2A5727}" dt="2022-01-24T17:20:28.381" v="1489" actId="478"/>
          <ac:spMkLst>
            <pc:docMk/>
            <pc:sldMk cId="1387739986" sldId="335"/>
            <ac:spMk id="16" creationId="{5926813E-1AAE-433C-B000-8ED9AB618BD4}"/>
          </ac:spMkLst>
        </pc:spChg>
        <pc:spChg chg="add mod">
          <ac:chgData name="Axelsson Jenny" userId="35153831-a041-4e19-963c-026d50be729b" providerId="ADAL" clId="{2C08962A-E33E-4747-91E9-AEED7E2A5727}" dt="2022-01-24T17:21:02.227" v="1496" actId="14100"/>
          <ac:spMkLst>
            <pc:docMk/>
            <pc:sldMk cId="1387739986" sldId="335"/>
            <ac:spMk id="17" creationId="{44E59B06-A374-4F1B-A84D-EC0E19B9AB9C}"/>
          </ac:spMkLst>
        </pc:spChg>
        <pc:picChg chg="add del mod">
          <ac:chgData name="Axelsson Jenny" userId="35153831-a041-4e19-963c-026d50be729b" providerId="ADAL" clId="{2C08962A-E33E-4747-91E9-AEED7E2A5727}" dt="2022-01-24T17:16:51.696" v="1464" actId="478"/>
          <ac:picMkLst>
            <pc:docMk/>
            <pc:sldMk cId="1387739986" sldId="335"/>
            <ac:picMk id="8" creationId="{63EFE055-A352-4A08-AB3E-12480366B3F6}"/>
          </ac:picMkLst>
        </pc:picChg>
        <pc:picChg chg="add del mod">
          <ac:chgData name="Axelsson Jenny" userId="35153831-a041-4e19-963c-026d50be729b" providerId="ADAL" clId="{2C08962A-E33E-4747-91E9-AEED7E2A5727}" dt="2022-01-24T17:17:59.455" v="1467" actId="478"/>
          <ac:picMkLst>
            <pc:docMk/>
            <pc:sldMk cId="1387739986" sldId="335"/>
            <ac:picMk id="12" creationId="{29A4A990-B484-4FD8-8E4C-04AEA7678BDE}"/>
          </ac:picMkLst>
        </pc:picChg>
        <pc:picChg chg="add mod">
          <ac:chgData name="Axelsson Jenny" userId="35153831-a041-4e19-963c-026d50be729b" providerId="ADAL" clId="{2C08962A-E33E-4747-91E9-AEED7E2A5727}" dt="2022-01-24T17:18:35.652" v="1470"/>
          <ac:picMkLst>
            <pc:docMk/>
            <pc:sldMk cId="1387739986" sldId="335"/>
            <ac:picMk id="15" creationId="{93E2D5E7-F74B-4542-8DB2-3A50A630AA08}"/>
          </ac:picMkLst>
        </pc:picChg>
      </pc:sldChg>
      <pc:sldChg chg="modSp add mod">
        <pc:chgData name="Axelsson Jenny" userId="35153831-a041-4e19-963c-026d50be729b" providerId="ADAL" clId="{2C08962A-E33E-4747-91E9-AEED7E2A5727}" dt="2022-01-24T12:46:32.162" v="435" actId="6549"/>
        <pc:sldMkLst>
          <pc:docMk/>
          <pc:sldMk cId="2129922634" sldId="336"/>
        </pc:sldMkLst>
        <pc:spChg chg="mod">
          <ac:chgData name="Axelsson Jenny" userId="35153831-a041-4e19-963c-026d50be729b" providerId="ADAL" clId="{2C08962A-E33E-4747-91E9-AEED7E2A5727}" dt="2022-01-24T12:46:32.162" v="435" actId="6549"/>
          <ac:spMkLst>
            <pc:docMk/>
            <pc:sldMk cId="2129922634" sldId="336"/>
            <ac:spMk id="5" creationId="{BC5C837C-7D53-4E50-BDC1-752E6FCF03A0}"/>
          </ac:spMkLst>
        </pc:spChg>
      </pc:sldChg>
      <pc:sldChg chg="modSp add mod">
        <pc:chgData name="Axelsson Jenny" userId="35153831-a041-4e19-963c-026d50be729b" providerId="ADAL" clId="{2C08962A-E33E-4747-91E9-AEED7E2A5727}" dt="2022-01-24T12:46:25.992" v="432" actId="6549"/>
        <pc:sldMkLst>
          <pc:docMk/>
          <pc:sldMk cId="4068802719" sldId="337"/>
        </pc:sldMkLst>
        <pc:spChg chg="mod">
          <ac:chgData name="Axelsson Jenny" userId="35153831-a041-4e19-963c-026d50be729b" providerId="ADAL" clId="{2C08962A-E33E-4747-91E9-AEED7E2A5727}" dt="2022-01-24T12:46:25.992" v="432" actId="6549"/>
          <ac:spMkLst>
            <pc:docMk/>
            <pc:sldMk cId="4068802719" sldId="337"/>
            <ac:spMk id="5" creationId="{BC5C837C-7D53-4E50-BDC1-752E6FCF03A0}"/>
          </ac:spMkLst>
        </pc:spChg>
      </pc:sldChg>
      <pc:sldChg chg="modSp add mod">
        <pc:chgData name="Axelsson Jenny" userId="35153831-a041-4e19-963c-026d50be729b" providerId="ADAL" clId="{2C08962A-E33E-4747-91E9-AEED7E2A5727}" dt="2022-01-24T12:46:21.552" v="429" actId="6549"/>
        <pc:sldMkLst>
          <pc:docMk/>
          <pc:sldMk cId="590067402" sldId="338"/>
        </pc:sldMkLst>
        <pc:spChg chg="mod">
          <ac:chgData name="Axelsson Jenny" userId="35153831-a041-4e19-963c-026d50be729b" providerId="ADAL" clId="{2C08962A-E33E-4747-91E9-AEED7E2A5727}" dt="2022-01-24T12:46:21.552" v="429" actId="6549"/>
          <ac:spMkLst>
            <pc:docMk/>
            <pc:sldMk cId="590067402" sldId="338"/>
            <ac:spMk id="5" creationId="{BC5C837C-7D53-4E50-BDC1-752E6FCF03A0}"/>
          </ac:spMkLst>
        </pc:spChg>
      </pc:sldChg>
      <pc:sldChg chg="modSp add mod">
        <pc:chgData name="Axelsson Jenny" userId="35153831-a041-4e19-963c-026d50be729b" providerId="ADAL" clId="{2C08962A-E33E-4747-91E9-AEED7E2A5727}" dt="2022-01-24T12:46:11.872" v="426" actId="6549"/>
        <pc:sldMkLst>
          <pc:docMk/>
          <pc:sldMk cId="3663232249" sldId="339"/>
        </pc:sldMkLst>
        <pc:spChg chg="mod">
          <ac:chgData name="Axelsson Jenny" userId="35153831-a041-4e19-963c-026d50be729b" providerId="ADAL" clId="{2C08962A-E33E-4747-91E9-AEED7E2A5727}" dt="2022-01-24T12:46:11.872" v="426" actId="6549"/>
          <ac:spMkLst>
            <pc:docMk/>
            <pc:sldMk cId="3663232249" sldId="339"/>
            <ac:spMk id="5" creationId="{BC5C837C-7D53-4E50-BDC1-752E6FCF03A0}"/>
          </ac:spMkLst>
        </pc:spChg>
      </pc:sldChg>
      <pc:sldChg chg="modSp add mod ord">
        <pc:chgData name="Axelsson Jenny" userId="35153831-a041-4e19-963c-026d50be729b" providerId="ADAL" clId="{2C08962A-E33E-4747-91E9-AEED7E2A5727}" dt="2022-01-24T12:45:12.035" v="415"/>
        <pc:sldMkLst>
          <pc:docMk/>
          <pc:sldMk cId="2503514258" sldId="340"/>
        </pc:sldMkLst>
        <pc:spChg chg="mod">
          <ac:chgData name="Axelsson Jenny" userId="35153831-a041-4e19-963c-026d50be729b" providerId="ADAL" clId="{2C08962A-E33E-4747-91E9-AEED7E2A5727}" dt="2022-01-24T12:45:03.518" v="413" actId="113"/>
          <ac:spMkLst>
            <pc:docMk/>
            <pc:sldMk cId="2503514258" sldId="340"/>
            <ac:spMk id="5" creationId="{BC5C837C-7D53-4E50-BDC1-752E6FCF03A0}"/>
          </ac:spMkLst>
        </pc:spChg>
      </pc:sldChg>
      <pc:sldChg chg="modSp add mod">
        <pc:chgData name="Axelsson Jenny" userId="35153831-a041-4e19-963c-026d50be729b" providerId="ADAL" clId="{2C08962A-E33E-4747-91E9-AEED7E2A5727}" dt="2022-01-24T12:45:29.883" v="420" actId="113"/>
        <pc:sldMkLst>
          <pc:docMk/>
          <pc:sldMk cId="1349160313" sldId="341"/>
        </pc:sldMkLst>
        <pc:spChg chg="mod">
          <ac:chgData name="Axelsson Jenny" userId="35153831-a041-4e19-963c-026d50be729b" providerId="ADAL" clId="{2C08962A-E33E-4747-91E9-AEED7E2A5727}" dt="2022-01-24T12:45:29.883" v="420" actId="113"/>
          <ac:spMkLst>
            <pc:docMk/>
            <pc:sldMk cId="1349160313" sldId="341"/>
            <ac:spMk id="5" creationId="{BC5C837C-7D53-4E50-BDC1-752E6FCF03A0}"/>
          </ac:spMkLst>
        </pc:spChg>
      </pc:sldChg>
      <pc:sldChg chg="modSp add mod">
        <pc:chgData name="Axelsson Jenny" userId="35153831-a041-4e19-963c-026d50be729b" providerId="ADAL" clId="{2C08962A-E33E-4747-91E9-AEED7E2A5727}" dt="2022-01-24T12:45:51.640" v="423" actId="113"/>
        <pc:sldMkLst>
          <pc:docMk/>
          <pc:sldMk cId="650609371" sldId="342"/>
        </pc:sldMkLst>
        <pc:spChg chg="mod">
          <ac:chgData name="Axelsson Jenny" userId="35153831-a041-4e19-963c-026d50be729b" providerId="ADAL" clId="{2C08962A-E33E-4747-91E9-AEED7E2A5727}" dt="2022-01-24T12:45:51.640" v="423" actId="113"/>
          <ac:spMkLst>
            <pc:docMk/>
            <pc:sldMk cId="650609371" sldId="342"/>
            <ac:spMk id="5" creationId="{BC5C837C-7D53-4E50-BDC1-752E6FCF03A0}"/>
          </ac:spMkLst>
        </pc:spChg>
      </pc:sldChg>
      <pc:sldChg chg="modSp new mod">
        <pc:chgData name="Axelsson Jenny" userId="35153831-a041-4e19-963c-026d50be729b" providerId="ADAL" clId="{2C08962A-E33E-4747-91E9-AEED7E2A5727}" dt="2022-01-25T08:26:19.919" v="2641" actId="6549"/>
        <pc:sldMkLst>
          <pc:docMk/>
          <pc:sldMk cId="3838751692" sldId="343"/>
        </pc:sldMkLst>
        <pc:spChg chg="mod">
          <ac:chgData name="Axelsson Jenny" userId="35153831-a041-4e19-963c-026d50be729b" providerId="ADAL" clId="{2C08962A-E33E-4747-91E9-AEED7E2A5727}" dt="2022-01-24T15:55:51.185" v="584" actId="20577"/>
          <ac:spMkLst>
            <pc:docMk/>
            <pc:sldMk cId="3838751692" sldId="343"/>
            <ac:spMk id="2" creationId="{392D14D8-072D-4740-BFF9-52917163033C}"/>
          </ac:spMkLst>
        </pc:spChg>
        <pc:spChg chg="mod">
          <ac:chgData name="Axelsson Jenny" userId="35153831-a041-4e19-963c-026d50be729b" providerId="ADAL" clId="{2C08962A-E33E-4747-91E9-AEED7E2A5727}" dt="2022-01-25T08:26:19.919" v="2641" actId="6549"/>
          <ac:spMkLst>
            <pc:docMk/>
            <pc:sldMk cId="3838751692" sldId="343"/>
            <ac:spMk id="3" creationId="{891537CF-34EB-491A-AF24-CA6D31DC645D}"/>
          </ac:spMkLst>
        </pc:spChg>
      </pc:sldChg>
      <pc:sldChg chg="new del">
        <pc:chgData name="Axelsson Jenny" userId="35153831-a041-4e19-963c-026d50be729b" providerId="ADAL" clId="{2C08962A-E33E-4747-91E9-AEED7E2A5727}" dt="2022-01-24T16:20:45.882" v="1007" actId="47"/>
        <pc:sldMkLst>
          <pc:docMk/>
          <pc:sldMk cId="336137856" sldId="344"/>
        </pc:sldMkLst>
      </pc:sldChg>
      <pc:sldChg chg="modSp add del mod">
        <pc:chgData name="Axelsson Jenny" userId="35153831-a041-4e19-963c-026d50be729b" providerId="ADAL" clId="{2C08962A-E33E-4747-91E9-AEED7E2A5727}" dt="2022-01-24T16:21:07.468" v="1023" actId="47"/>
        <pc:sldMkLst>
          <pc:docMk/>
          <pc:sldMk cId="2425698957" sldId="345"/>
        </pc:sldMkLst>
        <pc:spChg chg="mod">
          <ac:chgData name="Axelsson Jenny" userId="35153831-a041-4e19-963c-026d50be729b" providerId="ADAL" clId="{2C08962A-E33E-4747-91E9-AEED7E2A5727}" dt="2022-01-24T16:21:04.255" v="1021" actId="20577"/>
          <ac:spMkLst>
            <pc:docMk/>
            <pc:sldMk cId="2425698957" sldId="345"/>
            <ac:spMk id="3" creationId="{891537CF-34EB-491A-AF24-CA6D31DC645D}"/>
          </ac:spMkLst>
        </pc:spChg>
      </pc:sldChg>
      <pc:sldChg chg="modSp add mod">
        <pc:chgData name="Axelsson Jenny" userId="35153831-a041-4e19-963c-026d50be729b" providerId="ADAL" clId="{2C08962A-E33E-4747-91E9-AEED7E2A5727}" dt="2022-01-25T08:26:26.847" v="2642"/>
        <pc:sldMkLst>
          <pc:docMk/>
          <pc:sldMk cId="2951961761" sldId="346"/>
        </pc:sldMkLst>
        <pc:spChg chg="mod">
          <ac:chgData name="Axelsson Jenny" userId="35153831-a041-4e19-963c-026d50be729b" providerId="ADAL" clId="{2C08962A-E33E-4747-91E9-AEED7E2A5727}" dt="2022-01-25T08:26:26.847" v="2642"/>
          <ac:spMkLst>
            <pc:docMk/>
            <pc:sldMk cId="2951961761" sldId="346"/>
            <ac:spMk id="3" creationId="{891537CF-34EB-491A-AF24-CA6D31DC645D}"/>
          </ac:spMkLst>
        </pc:spChg>
      </pc:sldChg>
      <pc:sldChg chg="addSp delSp modSp new del mod modClrScheme chgLayout">
        <pc:chgData name="Axelsson Jenny" userId="35153831-a041-4e19-963c-026d50be729b" providerId="ADAL" clId="{2C08962A-E33E-4747-91E9-AEED7E2A5727}" dt="2022-01-24T17:19:15.446" v="1476" actId="47"/>
        <pc:sldMkLst>
          <pc:docMk/>
          <pc:sldMk cId="2237547649" sldId="347"/>
        </pc:sldMkLst>
        <pc:spChg chg="del mod ord">
          <ac:chgData name="Axelsson Jenny" userId="35153831-a041-4e19-963c-026d50be729b" providerId="ADAL" clId="{2C08962A-E33E-4747-91E9-AEED7E2A5727}" dt="2022-01-24T17:19:09.643" v="1475" actId="700"/>
          <ac:spMkLst>
            <pc:docMk/>
            <pc:sldMk cId="2237547649" sldId="347"/>
            <ac:spMk id="2" creationId="{0DCA4A97-9424-4708-BD9E-52D2C150E1B7}"/>
          </ac:spMkLst>
        </pc:spChg>
        <pc:spChg chg="del mod ord">
          <ac:chgData name="Axelsson Jenny" userId="35153831-a041-4e19-963c-026d50be729b" providerId="ADAL" clId="{2C08962A-E33E-4747-91E9-AEED7E2A5727}" dt="2022-01-24T17:19:09.643" v="1475" actId="700"/>
          <ac:spMkLst>
            <pc:docMk/>
            <pc:sldMk cId="2237547649" sldId="347"/>
            <ac:spMk id="3" creationId="{74185E93-62B6-41C9-BA7F-7D8E0E3C656D}"/>
          </ac:spMkLst>
        </pc:spChg>
        <pc:spChg chg="del">
          <ac:chgData name="Axelsson Jenny" userId="35153831-a041-4e19-963c-026d50be729b" providerId="ADAL" clId="{2C08962A-E33E-4747-91E9-AEED7E2A5727}" dt="2022-01-24T17:19:09.643" v="1475" actId="700"/>
          <ac:spMkLst>
            <pc:docMk/>
            <pc:sldMk cId="2237547649" sldId="347"/>
            <ac:spMk id="4" creationId="{0C300B55-28E0-42D3-8B0A-06905670128C}"/>
          </ac:spMkLst>
        </pc:spChg>
        <pc:spChg chg="mod ord">
          <ac:chgData name="Axelsson Jenny" userId="35153831-a041-4e19-963c-026d50be729b" providerId="ADAL" clId="{2C08962A-E33E-4747-91E9-AEED7E2A5727}" dt="2022-01-24T17:19:09.643" v="1475" actId="700"/>
          <ac:spMkLst>
            <pc:docMk/>
            <pc:sldMk cId="2237547649" sldId="347"/>
            <ac:spMk id="5" creationId="{30905D10-DE2A-4356-AAE8-57D1F8F0FC68}"/>
          </ac:spMkLst>
        </pc:spChg>
        <pc:spChg chg="add mod ord">
          <ac:chgData name="Axelsson Jenny" userId="35153831-a041-4e19-963c-026d50be729b" providerId="ADAL" clId="{2C08962A-E33E-4747-91E9-AEED7E2A5727}" dt="2022-01-24T17:19:09.643" v="1475" actId="700"/>
          <ac:spMkLst>
            <pc:docMk/>
            <pc:sldMk cId="2237547649" sldId="347"/>
            <ac:spMk id="6" creationId="{45028847-A641-4D85-971E-465BB048377F}"/>
          </ac:spMkLst>
        </pc:spChg>
        <pc:spChg chg="add mod ord">
          <ac:chgData name="Axelsson Jenny" userId="35153831-a041-4e19-963c-026d50be729b" providerId="ADAL" clId="{2C08962A-E33E-4747-91E9-AEED7E2A5727}" dt="2022-01-24T17:19:09.643" v="1475" actId="700"/>
          <ac:spMkLst>
            <pc:docMk/>
            <pc:sldMk cId="2237547649" sldId="347"/>
            <ac:spMk id="7" creationId="{2ED48448-4DBC-41A5-938E-94EAC9A92443}"/>
          </ac:spMkLst>
        </pc:spChg>
        <pc:spChg chg="add mod ord">
          <ac:chgData name="Axelsson Jenny" userId="35153831-a041-4e19-963c-026d50be729b" providerId="ADAL" clId="{2C08962A-E33E-4747-91E9-AEED7E2A5727}" dt="2022-01-24T17:19:09.643" v="1475" actId="700"/>
          <ac:spMkLst>
            <pc:docMk/>
            <pc:sldMk cId="2237547649" sldId="347"/>
            <ac:spMk id="8" creationId="{B25360CE-1A4B-4F42-A5EF-C9927596AF7B}"/>
          </ac:spMkLst>
        </pc:spChg>
      </pc:sldChg>
      <pc:sldChg chg="modSp new del mod">
        <pc:chgData name="Axelsson Jenny" userId="35153831-a041-4e19-963c-026d50be729b" providerId="ADAL" clId="{2C08962A-E33E-4747-91E9-AEED7E2A5727}" dt="2022-01-24T17:15:02.514" v="1444" actId="47"/>
        <pc:sldMkLst>
          <pc:docMk/>
          <pc:sldMk cId="2269129680" sldId="347"/>
        </pc:sldMkLst>
        <pc:spChg chg="mod">
          <ac:chgData name="Axelsson Jenny" userId="35153831-a041-4e19-963c-026d50be729b" providerId="ADAL" clId="{2C08962A-E33E-4747-91E9-AEED7E2A5727}" dt="2022-01-24T16:34:13.126" v="1289"/>
          <ac:spMkLst>
            <pc:docMk/>
            <pc:sldMk cId="2269129680" sldId="347"/>
            <ac:spMk id="3" creationId="{E21FCD3B-3D64-4B22-9D0D-63FE3DF0CD7A}"/>
          </ac:spMkLst>
        </pc:spChg>
      </pc:sldChg>
      <pc:sldChg chg="addSp delSp modSp new mod modClrScheme chgLayout">
        <pc:chgData name="Axelsson Jenny" userId="35153831-a041-4e19-963c-026d50be729b" providerId="ADAL" clId="{2C08962A-E33E-4747-91E9-AEED7E2A5727}" dt="2022-01-26T15:29:26.019" v="5797" actId="20577"/>
        <pc:sldMkLst>
          <pc:docMk/>
          <pc:sldMk cId="3818659979" sldId="347"/>
        </pc:sldMkLst>
        <pc:spChg chg="del">
          <ac:chgData name="Axelsson Jenny" userId="35153831-a041-4e19-963c-026d50be729b" providerId="ADAL" clId="{2C08962A-E33E-4747-91E9-AEED7E2A5727}" dt="2022-01-24T17:24:18.138" v="1553" actId="700"/>
          <ac:spMkLst>
            <pc:docMk/>
            <pc:sldMk cId="3818659979" sldId="347"/>
            <ac:spMk id="2" creationId="{B705946C-6C8D-4332-9C39-972FF23B17A6}"/>
          </ac:spMkLst>
        </pc:spChg>
        <pc:spChg chg="del mod ord">
          <ac:chgData name="Axelsson Jenny" userId="35153831-a041-4e19-963c-026d50be729b" providerId="ADAL" clId="{2C08962A-E33E-4747-91E9-AEED7E2A5727}" dt="2022-01-24T17:24:18.138" v="1553" actId="700"/>
          <ac:spMkLst>
            <pc:docMk/>
            <pc:sldMk cId="3818659979" sldId="347"/>
            <ac:spMk id="3" creationId="{7C0DCEC7-C890-4517-8CF5-C6D05C227632}"/>
          </ac:spMkLst>
        </pc:spChg>
        <pc:spChg chg="del mod ord">
          <ac:chgData name="Axelsson Jenny" userId="35153831-a041-4e19-963c-026d50be729b" providerId="ADAL" clId="{2C08962A-E33E-4747-91E9-AEED7E2A5727}" dt="2022-01-24T17:24:18.138" v="1553" actId="700"/>
          <ac:spMkLst>
            <pc:docMk/>
            <pc:sldMk cId="3818659979" sldId="347"/>
            <ac:spMk id="4" creationId="{19E998A4-2A41-4B48-A703-72460AE97C0C}"/>
          </ac:spMkLst>
        </pc:spChg>
        <pc:spChg chg="add mod ord">
          <ac:chgData name="Axelsson Jenny" userId="35153831-a041-4e19-963c-026d50be729b" providerId="ADAL" clId="{2C08962A-E33E-4747-91E9-AEED7E2A5727}" dt="2022-01-24T17:24:26.005" v="1597" actId="20577"/>
          <ac:spMkLst>
            <pc:docMk/>
            <pc:sldMk cId="3818659979" sldId="347"/>
            <ac:spMk id="5" creationId="{9B91EC0F-805F-453C-BD43-69F0A0742CE7}"/>
          </ac:spMkLst>
        </pc:spChg>
        <pc:spChg chg="add mod ord">
          <ac:chgData name="Axelsson Jenny" userId="35153831-a041-4e19-963c-026d50be729b" providerId="ADAL" clId="{2C08962A-E33E-4747-91E9-AEED7E2A5727}" dt="2022-01-26T15:29:26.019" v="5797" actId="20577"/>
          <ac:spMkLst>
            <pc:docMk/>
            <pc:sldMk cId="3818659979" sldId="347"/>
            <ac:spMk id="6" creationId="{B4FAE321-14A7-4FFD-A9C9-C69A29F5EA2E}"/>
          </ac:spMkLst>
        </pc:spChg>
      </pc:sldChg>
      <pc:sldChg chg="modSp new mod ord">
        <pc:chgData name="Axelsson Jenny" userId="35153831-a041-4e19-963c-026d50be729b" providerId="ADAL" clId="{2C08962A-E33E-4747-91E9-AEED7E2A5727}" dt="2022-01-26T15:26:35.841" v="5781"/>
        <pc:sldMkLst>
          <pc:docMk/>
          <pc:sldMk cId="2737267205" sldId="348"/>
        </pc:sldMkLst>
        <pc:spChg chg="mod">
          <ac:chgData name="Axelsson Jenny" userId="35153831-a041-4e19-963c-026d50be729b" providerId="ADAL" clId="{2C08962A-E33E-4747-91E9-AEED7E2A5727}" dt="2022-01-25T08:22:42.306" v="2636" actId="20577"/>
          <ac:spMkLst>
            <pc:docMk/>
            <pc:sldMk cId="2737267205" sldId="348"/>
            <ac:spMk id="2" creationId="{92E5C2EF-EA45-476B-9055-979DE19E424C}"/>
          </ac:spMkLst>
        </pc:spChg>
        <pc:spChg chg="mod">
          <ac:chgData name="Axelsson Jenny" userId="35153831-a041-4e19-963c-026d50be729b" providerId="ADAL" clId="{2C08962A-E33E-4747-91E9-AEED7E2A5727}" dt="2022-01-25T08:50:39.656" v="2654" actId="1076"/>
          <ac:spMkLst>
            <pc:docMk/>
            <pc:sldMk cId="2737267205" sldId="348"/>
            <ac:spMk id="3" creationId="{27600533-1174-4BB1-85D2-3BC01FD9E533}"/>
          </ac:spMkLst>
        </pc:spChg>
      </pc:sldChg>
      <pc:sldChg chg="addSp modSp new mod">
        <pc:chgData name="Axelsson Jenny" userId="35153831-a041-4e19-963c-026d50be729b" providerId="ADAL" clId="{2C08962A-E33E-4747-91E9-AEED7E2A5727}" dt="2022-01-26T15:12:18.146" v="4676" actId="20577"/>
        <pc:sldMkLst>
          <pc:docMk/>
          <pc:sldMk cId="3801574537" sldId="349"/>
        </pc:sldMkLst>
        <pc:spChg chg="mod">
          <ac:chgData name="Axelsson Jenny" userId="35153831-a041-4e19-963c-026d50be729b" providerId="ADAL" clId="{2C08962A-E33E-4747-91E9-AEED7E2A5727}" dt="2022-01-25T14:48:59.876" v="2877" actId="20577"/>
          <ac:spMkLst>
            <pc:docMk/>
            <pc:sldMk cId="3801574537" sldId="349"/>
            <ac:spMk id="2" creationId="{98493538-1949-49A0-BCFF-14A4D5034B50}"/>
          </ac:spMkLst>
        </pc:spChg>
        <pc:spChg chg="mod">
          <ac:chgData name="Axelsson Jenny" userId="35153831-a041-4e19-963c-026d50be729b" providerId="ADAL" clId="{2C08962A-E33E-4747-91E9-AEED7E2A5727}" dt="2022-01-26T15:12:18.146" v="4676" actId="20577"/>
          <ac:spMkLst>
            <pc:docMk/>
            <pc:sldMk cId="3801574537" sldId="349"/>
            <ac:spMk id="3" creationId="{BCA2BE70-7A26-48D1-ADF2-9FD9DC39B38E}"/>
          </ac:spMkLst>
        </pc:spChg>
        <pc:picChg chg="add mod">
          <ac:chgData name="Axelsson Jenny" userId="35153831-a041-4e19-963c-026d50be729b" providerId="ADAL" clId="{2C08962A-E33E-4747-91E9-AEED7E2A5727}" dt="2022-01-26T09:29:49.353" v="3157" actId="1076"/>
          <ac:picMkLst>
            <pc:docMk/>
            <pc:sldMk cId="3801574537" sldId="349"/>
            <ac:picMk id="7" creationId="{4CA38C1E-BA95-4547-A8A9-7C0C836408F0}"/>
          </ac:picMkLst>
        </pc:picChg>
      </pc:sldChg>
      <pc:sldChg chg="modSp new mod">
        <pc:chgData name="Axelsson Jenny" userId="35153831-a041-4e19-963c-026d50be729b" providerId="ADAL" clId="{2C08962A-E33E-4747-91E9-AEED7E2A5727}" dt="2022-01-26T15:15:55.773" v="4868" actId="20577"/>
        <pc:sldMkLst>
          <pc:docMk/>
          <pc:sldMk cId="1287501561" sldId="350"/>
        </pc:sldMkLst>
        <pc:spChg chg="mod">
          <ac:chgData name="Axelsson Jenny" userId="35153831-a041-4e19-963c-026d50be729b" providerId="ADAL" clId="{2C08962A-E33E-4747-91E9-AEED7E2A5727}" dt="2022-01-26T09:53:29.604" v="3160"/>
          <ac:spMkLst>
            <pc:docMk/>
            <pc:sldMk cId="1287501561" sldId="350"/>
            <ac:spMk id="2" creationId="{153BCFF2-AD28-46E8-909A-81CC3596A74D}"/>
          </ac:spMkLst>
        </pc:spChg>
        <pc:spChg chg="mod">
          <ac:chgData name="Axelsson Jenny" userId="35153831-a041-4e19-963c-026d50be729b" providerId="ADAL" clId="{2C08962A-E33E-4747-91E9-AEED7E2A5727}" dt="2022-01-26T15:15:55.773" v="4868" actId="20577"/>
          <ac:spMkLst>
            <pc:docMk/>
            <pc:sldMk cId="1287501561" sldId="350"/>
            <ac:spMk id="3" creationId="{81FABEE2-D3D3-4FC1-A4AD-5357E54D6AF6}"/>
          </ac:spMkLst>
        </pc:spChg>
      </pc:sldChg>
      <pc:sldChg chg="addSp delSp modSp new mod modClrScheme chgLayout">
        <pc:chgData name="Axelsson Jenny" userId="35153831-a041-4e19-963c-026d50be729b" providerId="ADAL" clId="{2C08962A-E33E-4747-91E9-AEED7E2A5727}" dt="2022-01-26T15:22:41.570" v="5779" actId="6549"/>
        <pc:sldMkLst>
          <pc:docMk/>
          <pc:sldMk cId="2992425971" sldId="351"/>
        </pc:sldMkLst>
        <pc:spChg chg="mod ord">
          <ac:chgData name="Axelsson Jenny" userId="35153831-a041-4e19-963c-026d50be729b" providerId="ADAL" clId="{2C08962A-E33E-4747-91E9-AEED7E2A5727}" dt="2022-01-26T11:13:30.060" v="4138" actId="700"/>
          <ac:spMkLst>
            <pc:docMk/>
            <pc:sldMk cId="2992425971" sldId="351"/>
            <ac:spMk id="2" creationId="{F87C77FD-A2B0-457F-B379-3A11809FB292}"/>
          </ac:spMkLst>
        </pc:spChg>
        <pc:spChg chg="mod ord">
          <ac:chgData name="Axelsson Jenny" userId="35153831-a041-4e19-963c-026d50be729b" providerId="ADAL" clId="{2C08962A-E33E-4747-91E9-AEED7E2A5727}" dt="2022-01-26T15:22:41.570" v="5779" actId="6549"/>
          <ac:spMkLst>
            <pc:docMk/>
            <pc:sldMk cId="2992425971" sldId="351"/>
            <ac:spMk id="3" creationId="{17E89B72-432E-45FE-A25F-850D59A2F12A}"/>
          </ac:spMkLst>
        </pc:spChg>
        <pc:spChg chg="mod ord">
          <ac:chgData name="Axelsson Jenny" userId="35153831-a041-4e19-963c-026d50be729b" providerId="ADAL" clId="{2C08962A-E33E-4747-91E9-AEED7E2A5727}" dt="2022-01-26T11:13:30.060" v="4138" actId="700"/>
          <ac:spMkLst>
            <pc:docMk/>
            <pc:sldMk cId="2992425971" sldId="351"/>
            <ac:spMk id="4" creationId="{A3FDF4D2-6B12-4040-BEBA-F63261ED43CB}"/>
          </ac:spMkLst>
        </pc:spChg>
        <pc:spChg chg="mod ord">
          <ac:chgData name="Axelsson Jenny" userId="35153831-a041-4e19-963c-026d50be729b" providerId="ADAL" clId="{2C08962A-E33E-4747-91E9-AEED7E2A5727}" dt="2022-01-26T11:13:30.060" v="4138" actId="700"/>
          <ac:spMkLst>
            <pc:docMk/>
            <pc:sldMk cId="2992425971" sldId="351"/>
            <ac:spMk id="5" creationId="{A79B7621-7245-4C21-A4DB-F344DB94EFA2}"/>
          </ac:spMkLst>
        </pc:spChg>
        <pc:spChg chg="add del mod ord">
          <ac:chgData name="Axelsson Jenny" userId="35153831-a041-4e19-963c-026d50be729b" providerId="ADAL" clId="{2C08962A-E33E-4747-91E9-AEED7E2A5727}" dt="2022-01-26T11:13:30.060" v="4138" actId="700"/>
          <ac:spMkLst>
            <pc:docMk/>
            <pc:sldMk cId="2992425971" sldId="351"/>
            <ac:spMk id="6" creationId="{61CC69B9-9E6F-49B0-B178-17B6DC9A97F8}"/>
          </ac:spMkLst>
        </pc:spChg>
        <pc:spChg chg="add del mod ord">
          <ac:chgData name="Axelsson Jenny" userId="35153831-a041-4e19-963c-026d50be729b" providerId="ADAL" clId="{2C08962A-E33E-4747-91E9-AEED7E2A5727}" dt="2022-01-26T11:14:32.345" v="4139" actId="931"/>
          <ac:spMkLst>
            <pc:docMk/>
            <pc:sldMk cId="2992425971" sldId="351"/>
            <ac:spMk id="7" creationId="{EF79E3C5-6B5C-4711-BF08-DAEDDACF4E6A}"/>
          </ac:spMkLst>
        </pc:spChg>
        <pc:picChg chg="add mod">
          <ac:chgData name="Axelsson Jenny" userId="35153831-a041-4e19-963c-026d50be729b" providerId="ADAL" clId="{2C08962A-E33E-4747-91E9-AEED7E2A5727}" dt="2022-01-26T11:14:46.335" v="4143" actId="1076"/>
          <ac:picMkLst>
            <pc:docMk/>
            <pc:sldMk cId="2992425971" sldId="351"/>
            <ac:picMk id="9" creationId="{AC252E89-654B-473D-89B9-F1990D1CF919}"/>
          </ac:picMkLst>
        </pc:picChg>
      </pc:sldChg>
      <pc:sldChg chg="modSp new mod">
        <pc:chgData name="Axelsson Jenny" userId="35153831-a041-4e19-963c-026d50be729b" providerId="ADAL" clId="{2C08962A-E33E-4747-91E9-AEED7E2A5727}" dt="2022-01-26T15:21:24.106" v="5775" actId="20577"/>
        <pc:sldMkLst>
          <pc:docMk/>
          <pc:sldMk cId="2584752395" sldId="352"/>
        </pc:sldMkLst>
        <pc:spChg chg="mod">
          <ac:chgData name="Axelsson Jenny" userId="35153831-a041-4e19-963c-026d50be729b" providerId="ADAL" clId="{2C08962A-E33E-4747-91E9-AEED7E2A5727}" dt="2022-01-26T15:18:48.367" v="5458" actId="1076"/>
          <ac:spMkLst>
            <pc:docMk/>
            <pc:sldMk cId="2584752395" sldId="352"/>
            <ac:spMk id="2" creationId="{CB1BB783-B51E-4E21-84D0-638C6FAB0D72}"/>
          </ac:spMkLst>
        </pc:spChg>
        <pc:spChg chg="mod">
          <ac:chgData name="Axelsson Jenny" userId="35153831-a041-4e19-963c-026d50be729b" providerId="ADAL" clId="{2C08962A-E33E-4747-91E9-AEED7E2A5727}" dt="2022-01-26T15:21:24.106" v="5775" actId="20577"/>
          <ac:spMkLst>
            <pc:docMk/>
            <pc:sldMk cId="2584752395" sldId="352"/>
            <ac:spMk id="3" creationId="{C8F2940F-8A88-41C7-AF73-B16C3A9CFD24}"/>
          </ac:spMkLst>
        </pc:spChg>
      </pc:sldChg>
    </pc:docChg>
  </pc:docChgLst>
  <pc:docChgLst>
    <pc:chgData name="Axelsson Jenny" userId="S::jenny.axelsson@inera.se::35153831-a041-4e19-963c-026d50be729b" providerId="AD" clId="Web-{875C41AE-B2DF-47AD-B049-EF664B7720B7}"/>
    <pc:docChg chg="modSld">
      <pc:chgData name="Axelsson Jenny" userId="S::jenny.axelsson@inera.se::35153831-a041-4e19-963c-026d50be729b" providerId="AD" clId="Web-{875C41AE-B2DF-47AD-B049-EF664B7720B7}" dt="2021-02-04T09:42:20.077" v="2" actId="20577"/>
      <pc:docMkLst>
        <pc:docMk/>
      </pc:docMkLst>
      <pc:sldChg chg="modSp">
        <pc:chgData name="Axelsson Jenny" userId="S::jenny.axelsson@inera.se::35153831-a041-4e19-963c-026d50be729b" providerId="AD" clId="Web-{875C41AE-B2DF-47AD-B049-EF664B7720B7}" dt="2021-02-04T09:42:20.077" v="2" actId="20577"/>
        <pc:sldMkLst>
          <pc:docMk/>
          <pc:sldMk cId="688302191" sldId="259"/>
        </pc:sldMkLst>
        <pc:spChg chg="mod">
          <ac:chgData name="Axelsson Jenny" userId="S::jenny.axelsson@inera.se::35153831-a041-4e19-963c-026d50be729b" providerId="AD" clId="Web-{875C41AE-B2DF-47AD-B049-EF664B7720B7}" dt="2021-02-04T09:42:20.077" v="2" actId="20577"/>
          <ac:spMkLst>
            <pc:docMk/>
            <pc:sldMk cId="688302191" sldId="259"/>
            <ac:spMk id="9" creationId="{9993CAB1-87C1-455A-819E-ACEEB293788A}"/>
          </ac:spMkLst>
        </pc:spChg>
      </pc:sldChg>
    </pc:docChg>
  </pc:docChgLst>
  <pc:docChgLst>
    <pc:chgData name="Axelsson Jenny" userId="S::jenny.axelsson@inera.se::35153831-a041-4e19-963c-026d50be729b" providerId="AD" clId="Web-{C8E5DAB2-1138-4076-87A5-52E2E10F9BCC}"/>
    <pc:docChg chg="addSld delSld modSld sldOrd">
      <pc:chgData name="Axelsson Jenny" userId="S::jenny.axelsson@inera.se::35153831-a041-4e19-963c-026d50be729b" providerId="AD" clId="Web-{C8E5DAB2-1138-4076-87A5-52E2E10F9BCC}" dt="2022-01-18T15:31:24.804" v="260" actId="20577"/>
      <pc:docMkLst>
        <pc:docMk/>
      </pc:docMkLst>
      <pc:sldChg chg="modSp">
        <pc:chgData name="Axelsson Jenny" userId="S::jenny.axelsson@inera.se::35153831-a041-4e19-963c-026d50be729b" providerId="AD" clId="Web-{C8E5DAB2-1138-4076-87A5-52E2E10F9BCC}" dt="2022-01-18T15:15:27.499" v="70" actId="20577"/>
        <pc:sldMkLst>
          <pc:docMk/>
          <pc:sldMk cId="1036871477" sldId="264"/>
        </pc:sldMkLst>
        <pc:spChg chg="mod">
          <ac:chgData name="Axelsson Jenny" userId="S::jenny.axelsson@inera.se::35153831-a041-4e19-963c-026d50be729b" providerId="AD" clId="Web-{C8E5DAB2-1138-4076-87A5-52E2E10F9BCC}" dt="2022-01-18T15:15:27.499" v="70" actId="20577"/>
          <ac:spMkLst>
            <pc:docMk/>
            <pc:sldMk cId="1036871477" sldId="264"/>
            <ac:spMk id="3" creationId="{3E215758-AD04-4783-8B7A-EA30D128D138}"/>
          </ac:spMkLst>
        </pc:spChg>
      </pc:sldChg>
      <pc:sldChg chg="modSp">
        <pc:chgData name="Axelsson Jenny" userId="S::jenny.axelsson@inera.se::35153831-a041-4e19-963c-026d50be729b" providerId="AD" clId="Web-{C8E5DAB2-1138-4076-87A5-52E2E10F9BCC}" dt="2022-01-18T15:19:40.943" v="102" actId="20577"/>
        <pc:sldMkLst>
          <pc:docMk/>
          <pc:sldMk cId="1351546238" sldId="267"/>
        </pc:sldMkLst>
        <pc:spChg chg="mod">
          <ac:chgData name="Axelsson Jenny" userId="S::jenny.axelsson@inera.se::35153831-a041-4e19-963c-026d50be729b" providerId="AD" clId="Web-{C8E5DAB2-1138-4076-87A5-52E2E10F9BCC}" dt="2022-01-18T15:19:40.943" v="102" actId="20577"/>
          <ac:spMkLst>
            <pc:docMk/>
            <pc:sldMk cId="1351546238" sldId="267"/>
            <ac:spMk id="5" creationId="{E66C5368-8331-464F-8C50-5BB97655E8A7}"/>
          </ac:spMkLst>
        </pc:spChg>
      </pc:sldChg>
      <pc:sldChg chg="modSp">
        <pc:chgData name="Axelsson Jenny" userId="S::jenny.axelsson@inera.se::35153831-a041-4e19-963c-026d50be729b" providerId="AD" clId="Web-{C8E5DAB2-1138-4076-87A5-52E2E10F9BCC}" dt="2022-01-18T15:09:52.881" v="2" actId="20577"/>
        <pc:sldMkLst>
          <pc:docMk/>
          <pc:sldMk cId="2974578957" sldId="312"/>
        </pc:sldMkLst>
        <pc:spChg chg="mod">
          <ac:chgData name="Axelsson Jenny" userId="S::jenny.axelsson@inera.se::35153831-a041-4e19-963c-026d50be729b" providerId="AD" clId="Web-{C8E5DAB2-1138-4076-87A5-52E2E10F9BCC}" dt="2022-01-18T15:09:52.881" v="2" actId="20577"/>
          <ac:spMkLst>
            <pc:docMk/>
            <pc:sldMk cId="2974578957" sldId="312"/>
            <ac:spMk id="4" creationId="{7C3A8192-81A1-4B54-8CE2-055E1C43C19C}"/>
          </ac:spMkLst>
        </pc:spChg>
      </pc:sldChg>
      <pc:sldChg chg="modSp del">
        <pc:chgData name="Axelsson Jenny" userId="S::jenny.axelsson@inera.se::35153831-a041-4e19-963c-026d50be729b" providerId="AD" clId="Web-{C8E5DAB2-1138-4076-87A5-52E2E10F9BCC}" dt="2022-01-18T15:30:17.662" v="234"/>
        <pc:sldMkLst>
          <pc:docMk/>
          <pc:sldMk cId="4158479537" sldId="320"/>
        </pc:sldMkLst>
        <pc:spChg chg="mod">
          <ac:chgData name="Axelsson Jenny" userId="S::jenny.axelsson@inera.se::35153831-a041-4e19-963c-026d50be729b" providerId="AD" clId="Web-{C8E5DAB2-1138-4076-87A5-52E2E10F9BCC}" dt="2022-01-18T15:22:13.384" v="178" actId="20577"/>
          <ac:spMkLst>
            <pc:docMk/>
            <pc:sldMk cId="4158479537" sldId="320"/>
            <ac:spMk id="5" creationId="{E66C5368-8331-464F-8C50-5BB97655E8A7}"/>
          </ac:spMkLst>
        </pc:spChg>
      </pc:sldChg>
      <pc:sldChg chg="modSp del">
        <pc:chgData name="Axelsson Jenny" userId="S::jenny.axelsson@inera.se::35153831-a041-4e19-963c-026d50be729b" providerId="AD" clId="Web-{C8E5DAB2-1138-4076-87A5-52E2E10F9BCC}" dt="2022-01-18T15:31:13.148" v="257"/>
        <pc:sldMkLst>
          <pc:docMk/>
          <pc:sldMk cId="1025984966" sldId="322"/>
        </pc:sldMkLst>
        <pc:spChg chg="mod">
          <ac:chgData name="Axelsson Jenny" userId="S::jenny.axelsson@inera.se::35153831-a041-4e19-963c-026d50be729b" providerId="AD" clId="Web-{C8E5DAB2-1138-4076-87A5-52E2E10F9BCC}" dt="2022-01-18T15:31:07.288" v="255" actId="1076"/>
          <ac:spMkLst>
            <pc:docMk/>
            <pc:sldMk cId="1025984966" sldId="322"/>
            <ac:spMk id="5" creationId="{E66C5368-8331-464F-8C50-5BB97655E8A7}"/>
          </ac:spMkLst>
        </pc:spChg>
      </pc:sldChg>
      <pc:sldChg chg="modSp add replId">
        <pc:chgData name="Axelsson Jenny" userId="S::jenny.axelsson@inera.se::35153831-a041-4e19-963c-026d50be729b" providerId="AD" clId="Web-{C8E5DAB2-1138-4076-87A5-52E2E10F9BCC}" dt="2022-01-18T15:30:53.382" v="254" actId="20577"/>
        <pc:sldMkLst>
          <pc:docMk/>
          <pc:sldMk cId="1890798318" sldId="323"/>
        </pc:sldMkLst>
        <pc:spChg chg="mod">
          <ac:chgData name="Axelsson Jenny" userId="S::jenny.axelsson@inera.se::35153831-a041-4e19-963c-026d50be729b" providerId="AD" clId="Web-{C8E5DAB2-1138-4076-87A5-52E2E10F9BCC}" dt="2022-01-18T15:30:49.835" v="251" actId="20577"/>
          <ac:spMkLst>
            <pc:docMk/>
            <pc:sldMk cId="1890798318" sldId="323"/>
            <ac:spMk id="2" creationId="{28142FAB-2177-42C2-83A7-B8FCD6F5DAB5}"/>
          </ac:spMkLst>
        </pc:spChg>
        <pc:spChg chg="mod">
          <ac:chgData name="Axelsson Jenny" userId="S::jenny.axelsson@inera.se::35153831-a041-4e19-963c-026d50be729b" providerId="AD" clId="Web-{C8E5DAB2-1138-4076-87A5-52E2E10F9BCC}" dt="2022-01-18T15:30:53.382" v="254" actId="20577"/>
          <ac:spMkLst>
            <pc:docMk/>
            <pc:sldMk cId="1890798318" sldId="323"/>
            <ac:spMk id="5" creationId="{E66C5368-8331-464F-8C50-5BB97655E8A7}"/>
          </ac:spMkLst>
        </pc:spChg>
      </pc:sldChg>
      <pc:sldChg chg="addSp modSp new mod modClrScheme chgLayout">
        <pc:chgData name="Axelsson Jenny" userId="S::jenny.axelsson@inera.se::35153831-a041-4e19-963c-026d50be729b" providerId="AD" clId="Web-{C8E5DAB2-1138-4076-87A5-52E2E10F9BCC}" dt="2022-01-18T15:30:33.522" v="246" actId="20577"/>
        <pc:sldMkLst>
          <pc:docMk/>
          <pc:sldMk cId="3958321542" sldId="324"/>
        </pc:sldMkLst>
        <pc:spChg chg="mod ord">
          <ac:chgData name="Axelsson Jenny" userId="S::jenny.axelsson@inera.se::35153831-a041-4e19-963c-026d50be729b" providerId="AD" clId="Web-{C8E5DAB2-1138-4076-87A5-52E2E10F9BCC}" dt="2022-01-18T15:17:52.862" v="86" actId="20577"/>
          <ac:spMkLst>
            <pc:docMk/>
            <pc:sldMk cId="3958321542" sldId="324"/>
            <ac:spMk id="2" creationId="{7B6E1B41-4986-4B31-AE28-DBDBB0A3E6A4}"/>
          </ac:spMkLst>
        </pc:spChg>
        <pc:spChg chg="mod ord">
          <ac:chgData name="Axelsson Jenny" userId="S::jenny.axelsson@inera.se::35153831-a041-4e19-963c-026d50be729b" providerId="AD" clId="Web-{C8E5DAB2-1138-4076-87A5-52E2E10F9BCC}" dt="2022-01-18T15:17:46.127" v="83"/>
          <ac:spMkLst>
            <pc:docMk/>
            <pc:sldMk cId="3958321542" sldId="324"/>
            <ac:spMk id="3" creationId="{0ABFC80A-F01B-43C9-8ED4-5AFBC290C596}"/>
          </ac:spMkLst>
        </pc:spChg>
        <pc:spChg chg="mod ord">
          <ac:chgData name="Axelsson Jenny" userId="S::jenny.axelsson@inera.se::35153831-a041-4e19-963c-026d50be729b" providerId="AD" clId="Web-{C8E5DAB2-1138-4076-87A5-52E2E10F9BCC}" dt="2022-01-18T15:17:46.127" v="83"/>
          <ac:spMkLst>
            <pc:docMk/>
            <pc:sldMk cId="3958321542" sldId="324"/>
            <ac:spMk id="4" creationId="{47A07DD5-6A54-497E-9259-85BD1F3EBA5B}"/>
          </ac:spMkLst>
        </pc:spChg>
        <pc:spChg chg="add mod ord">
          <ac:chgData name="Axelsson Jenny" userId="S::jenny.axelsson@inera.se::35153831-a041-4e19-963c-026d50be729b" providerId="AD" clId="Web-{C8E5DAB2-1138-4076-87A5-52E2E10F9BCC}" dt="2022-01-18T15:30:33.522" v="246" actId="20577"/>
          <ac:spMkLst>
            <pc:docMk/>
            <pc:sldMk cId="3958321542" sldId="324"/>
            <ac:spMk id="5" creationId="{B951F6A0-030F-4C27-83E0-D4EB1A55B331}"/>
          </ac:spMkLst>
        </pc:spChg>
        <pc:spChg chg="add mod ord">
          <ac:chgData name="Axelsson Jenny" userId="S::jenny.axelsson@inera.se::35153831-a041-4e19-963c-026d50be729b" providerId="AD" clId="Web-{C8E5DAB2-1138-4076-87A5-52E2E10F9BCC}" dt="2022-01-18T15:17:46.127" v="83"/>
          <ac:spMkLst>
            <pc:docMk/>
            <pc:sldMk cId="3958321542" sldId="324"/>
            <ac:spMk id="6" creationId="{F36829D7-4057-44BD-ADB0-22CA427D94A6}"/>
          </ac:spMkLst>
        </pc:spChg>
      </pc:sldChg>
      <pc:sldChg chg="addSp delSp modSp new mod modClrScheme chgLayout">
        <pc:chgData name="Axelsson Jenny" userId="S::jenny.axelsson@inera.se::35153831-a041-4e19-963c-026d50be729b" providerId="AD" clId="Web-{C8E5DAB2-1138-4076-87A5-52E2E10F9BCC}" dt="2022-01-18T15:30:09.756" v="233" actId="20577"/>
        <pc:sldMkLst>
          <pc:docMk/>
          <pc:sldMk cId="1447821777" sldId="325"/>
        </pc:sldMkLst>
        <pc:spChg chg="mod ord">
          <ac:chgData name="Axelsson Jenny" userId="S::jenny.axelsson@inera.se::35153831-a041-4e19-963c-026d50be729b" providerId="AD" clId="Web-{C8E5DAB2-1138-4076-87A5-52E2E10F9BCC}" dt="2022-01-18T15:28:41.753" v="207" actId="20577"/>
          <ac:spMkLst>
            <pc:docMk/>
            <pc:sldMk cId="1447821777" sldId="325"/>
            <ac:spMk id="2" creationId="{A2C237A8-A6C5-4C14-B5D7-27C0D7FD3507}"/>
          </ac:spMkLst>
        </pc:spChg>
        <pc:spChg chg="del">
          <ac:chgData name="Axelsson Jenny" userId="S::jenny.axelsson@inera.se::35153831-a041-4e19-963c-026d50be729b" providerId="AD" clId="Web-{C8E5DAB2-1138-4076-87A5-52E2E10F9BCC}" dt="2022-01-18T15:28:18.721" v="180"/>
          <ac:spMkLst>
            <pc:docMk/>
            <pc:sldMk cId="1447821777" sldId="325"/>
            <ac:spMk id="3" creationId="{A410E73C-744B-47D3-BDFF-B0DB3E8934AF}"/>
          </ac:spMkLst>
        </pc:spChg>
        <pc:spChg chg="mod ord">
          <ac:chgData name="Axelsson Jenny" userId="S::jenny.axelsson@inera.se::35153831-a041-4e19-963c-026d50be729b" providerId="AD" clId="Web-{C8E5DAB2-1138-4076-87A5-52E2E10F9BCC}" dt="2022-01-18T15:28:25.956" v="181"/>
          <ac:spMkLst>
            <pc:docMk/>
            <pc:sldMk cId="1447821777" sldId="325"/>
            <ac:spMk id="4" creationId="{F3CBE164-EC9D-4A6F-892B-7DF580E2ED64}"/>
          </ac:spMkLst>
        </pc:spChg>
        <pc:spChg chg="add mod ord">
          <ac:chgData name="Axelsson Jenny" userId="S::jenny.axelsson@inera.se::35153831-a041-4e19-963c-026d50be729b" providerId="AD" clId="Web-{C8E5DAB2-1138-4076-87A5-52E2E10F9BCC}" dt="2022-01-18T15:30:09.756" v="233" actId="20577"/>
          <ac:spMkLst>
            <pc:docMk/>
            <pc:sldMk cId="1447821777" sldId="325"/>
            <ac:spMk id="5" creationId="{7A5A2983-59C6-497D-9789-9232EF9391ED}"/>
          </ac:spMkLst>
        </pc:spChg>
      </pc:sldChg>
      <pc:sldChg chg="modSp add ord replId">
        <pc:chgData name="Axelsson Jenny" userId="S::jenny.axelsson@inera.se::35153831-a041-4e19-963c-026d50be729b" providerId="AD" clId="Web-{C8E5DAB2-1138-4076-87A5-52E2E10F9BCC}" dt="2022-01-18T15:31:24.804" v="260" actId="20577"/>
        <pc:sldMkLst>
          <pc:docMk/>
          <pc:sldMk cId="2032816693" sldId="326"/>
        </pc:sldMkLst>
        <pc:spChg chg="mod">
          <ac:chgData name="Axelsson Jenny" userId="S::jenny.axelsson@inera.se::35153831-a041-4e19-963c-026d50be729b" providerId="AD" clId="Web-{C8E5DAB2-1138-4076-87A5-52E2E10F9BCC}" dt="2022-01-18T15:31:24.804" v="260" actId="20577"/>
          <ac:spMkLst>
            <pc:docMk/>
            <pc:sldMk cId="2032816693" sldId="326"/>
            <ac:spMk id="5" creationId="{E66C5368-8331-464F-8C50-5BB97655E8A7}"/>
          </ac:spMkLst>
        </pc:spChg>
      </pc:sldChg>
    </pc:docChg>
  </pc:docChgLst>
  <pc:docChgLst>
    <pc:chgData name="Axelsson Jenny" userId="S::jenny.axelsson@inera.se::35153831-a041-4e19-963c-026d50be729b" providerId="AD" clId="Web-{F551A008-5E25-4D76-ADBF-13E903666013}"/>
    <pc:docChg chg="sldOrd">
      <pc:chgData name="Axelsson Jenny" userId="S::jenny.axelsson@inera.se::35153831-a041-4e19-963c-026d50be729b" providerId="AD" clId="Web-{F551A008-5E25-4D76-ADBF-13E903666013}" dt="2022-01-26T14:06:48.835" v="0"/>
      <pc:docMkLst>
        <pc:docMk/>
      </pc:docMkLst>
      <pc:sldChg chg="ord">
        <pc:chgData name="Axelsson Jenny" userId="S::jenny.axelsson@inera.se::35153831-a041-4e19-963c-026d50be729b" providerId="AD" clId="Web-{F551A008-5E25-4D76-ADBF-13E903666013}" dt="2022-01-26T14:06:48.835" v="0"/>
        <pc:sldMkLst>
          <pc:docMk/>
          <pc:sldMk cId="1287501561" sldId="350"/>
        </pc:sldMkLst>
      </pc:sldChg>
    </pc:docChg>
  </pc:docChgLst>
  <pc:docChgLst>
    <pc:chgData name="Axelsson Jenny" userId="S::jenny.axelsson@inera.se::35153831-a041-4e19-963c-026d50be729b" providerId="AD" clId="Web-{D044FB9F-61A4-48B9-8563-CC599C217850}"/>
    <pc:docChg chg="modSld">
      <pc:chgData name="Axelsson Jenny" userId="S::jenny.axelsson@inera.se::35153831-a041-4e19-963c-026d50be729b" providerId="AD" clId="Web-{D044FB9F-61A4-48B9-8563-CC599C217850}" dt="2021-01-26T07:57:17.705" v="1" actId="20577"/>
      <pc:docMkLst>
        <pc:docMk/>
      </pc:docMkLst>
      <pc:sldChg chg="modSp">
        <pc:chgData name="Axelsson Jenny" userId="S::jenny.axelsson@inera.se::35153831-a041-4e19-963c-026d50be729b" providerId="AD" clId="Web-{D044FB9F-61A4-48B9-8563-CC599C217850}" dt="2021-01-26T07:57:17.705" v="1" actId="20577"/>
        <pc:sldMkLst>
          <pc:docMk/>
          <pc:sldMk cId="2219666961" sldId="297"/>
        </pc:sldMkLst>
        <pc:spChg chg="mod">
          <ac:chgData name="Axelsson Jenny" userId="S::jenny.axelsson@inera.se::35153831-a041-4e19-963c-026d50be729b" providerId="AD" clId="Web-{D044FB9F-61A4-48B9-8563-CC599C217850}" dt="2021-01-26T07:57:17.705" v="1" actId="20577"/>
          <ac:spMkLst>
            <pc:docMk/>
            <pc:sldMk cId="2219666961" sldId="297"/>
            <ac:spMk id="2" creationId="{0C28D93B-810B-4496-B5A7-8067431BE536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023D13-F35E-4529-B3F7-0633FF5C8FD7}" type="datetimeFigureOut">
              <a:rPr lang="sv-SE" smtClean="0"/>
              <a:t>2022-04-19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DEDCF4-EC53-45ED-9657-3068B2115E4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487823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sida utan bild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F6D261CD-7475-462D-96A6-570AC61F5569}"/>
              </a:ext>
            </a:extLst>
          </p:cNvPr>
          <p:cNvSpPr/>
          <p:nvPr userDrawn="1"/>
        </p:nvSpPr>
        <p:spPr>
          <a:xfrm>
            <a:off x="0" y="0"/>
            <a:ext cx="12192000" cy="5644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C5D4EC2-9FA8-4FE8-96F7-29DCCDEDDB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8728"/>
            <a:ext cx="12202510" cy="220029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C4679F00-E121-4F6A-8D29-D9E7E550A9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52672"/>
            <a:ext cx="9144000" cy="2387600"/>
          </a:xfrm>
        </p:spPr>
        <p:txBody>
          <a:bodyPr anchor="t"/>
          <a:lstStyle>
            <a:lvl1pPr algn="ctr">
              <a:defRPr sz="54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kan</a:t>
            </a:r>
            <a:br>
              <a:rPr lang="sv-SE"/>
            </a:br>
            <a:r>
              <a:rPr lang="sv-SE"/>
              <a:t>vara på tre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9F3B956-728F-4271-9E5F-A466177507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1176772"/>
            <a:ext cx="9144000" cy="410286"/>
          </a:xfrm>
        </p:spPr>
        <p:txBody>
          <a:bodyPr anchor="b"/>
          <a:lstStyle>
            <a:lvl1pPr marL="0" indent="0" algn="ctr">
              <a:buNone/>
              <a:defRPr sz="14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0D46721D-F352-4C9F-8260-E5322AB478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800" y="5685098"/>
            <a:ext cx="1752911" cy="71124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25C65CF8-0829-4AB6-891A-190544AC3286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EBE118A1-F797-4EAF-B63F-697D3863BC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01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chemeClr val="accent1"/>
                </a:solidFill>
              </a:rPr>
              <a:t>Rubrik</a:t>
            </a:r>
            <a:r>
              <a:rPr lang="sv-SE"/>
              <a:t>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3338" y="1693273"/>
            <a:ext cx="5958536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E79EAE5D-FEC0-4EF7-BBA5-3270B4215AD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35038" y="1619250"/>
            <a:ext cx="4110037" cy="3709988"/>
          </a:xfrm>
          <a:prstGeom prst="roundRect">
            <a:avLst>
              <a:gd name="adj" fmla="val 1369"/>
            </a:avLst>
          </a:prstGeom>
          <a:noFill/>
        </p:spPr>
        <p:txBody>
          <a:bodyPr tIns="576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57955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 bild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296" y="84221"/>
            <a:ext cx="10567736" cy="1149264"/>
          </a:xfrm>
        </p:spPr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chemeClr val="accent1"/>
                </a:solidFill>
              </a:rPr>
              <a:t>Rubrik</a:t>
            </a:r>
            <a:r>
              <a:rPr lang="sv-SE"/>
              <a:t>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4" y="1693273"/>
            <a:ext cx="5919810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bild 9">
            <a:extLst>
              <a:ext uri="{FF2B5EF4-FFF2-40B4-BE49-F238E27FC236}">
                <a16:creationId xmlns:a16="http://schemas.microsoft.com/office/drawing/2014/main" id="{DCD0C5FE-126D-416C-9A5B-02C9EAD42FB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46348" y="1619250"/>
            <a:ext cx="4110037" cy="3709988"/>
          </a:xfrm>
          <a:prstGeom prst="roundRect">
            <a:avLst>
              <a:gd name="adj" fmla="val 1369"/>
            </a:avLst>
          </a:prstGeom>
          <a:noFill/>
        </p:spPr>
        <p:txBody>
          <a:bodyPr tIns="576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419791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8D5545B1-EC61-4586-B3F7-6354B25D50F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DDFEC98-4970-485D-A1F1-BBD55667B1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7216" y="2392723"/>
            <a:ext cx="3357569" cy="136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84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39402CD-6991-4956-97B9-E3910AAB45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4928556-41DC-4E7D-B277-65FF650984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B2DCD5D-84F3-4333-9600-FAF6E5BA39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F1A163-B24D-46EA-873E-74E7789AD673}" type="datetimeFigureOut">
              <a:rPr lang="sv-SE" smtClean="0"/>
              <a:t>2022-04-19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93736BC-98B2-4BCE-A2E9-183F5B48C9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341D28AC-A24D-4524-BA21-B7D614B947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389D8-6223-4B1D-82AB-19C377706A8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307155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09601" y="2410539"/>
            <a:ext cx="10699799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442913" indent="-352425">
              <a:defRPr sz="2200">
                <a:latin typeface="Tahoma"/>
                <a:cs typeface="Tahoma"/>
              </a:defRPr>
            </a:lvl1pPr>
            <a:lvl2pPr>
              <a:defRPr sz="2200">
                <a:latin typeface="Tahoma"/>
                <a:cs typeface="Tahoma"/>
              </a:defRPr>
            </a:lvl2pPr>
            <a:lvl3pPr>
              <a:defRPr sz="2200">
                <a:latin typeface="Tahoma"/>
                <a:cs typeface="Tahoma"/>
              </a:defRPr>
            </a:lvl3pPr>
            <a:lvl4pPr>
              <a:defRPr sz="2200">
                <a:latin typeface="Tahoma"/>
                <a:cs typeface="Tahoma"/>
              </a:defRPr>
            </a:lvl4pPr>
            <a:lvl5pPr>
              <a:defRPr sz="2200">
                <a:latin typeface="Tahoma"/>
                <a:cs typeface="Tahoma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8" name="Platshållare för rubrik 1"/>
          <p:cNvSpPr>
            <a:spLocks noGrp="1"/>
          </p:cNvSpPr>
          <p:nvPr>
            <p:ph type="title" hasCustomPrompt="1"/>
          </p:nvPr>
        </p:nvSpPr>
        <p:spPr>
          <a:xfrm>
            <a:off x="1843839" y="524415"/>
            <a:ext cx="9465560" cy="126544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>
              <a:defRPr sz="4000"/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3848788" y="6295964"/>
            <a:ext cx="7460611" cy="365125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sv-SE"/>
              <a:t>Dagens tema, 2015-01-01, Förnamn Efternamn</a:t>
            </a:r>
            <a:endParaRPr lang="sv-SE" dirty="0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205477" y="6301379"/>
            <a:ext cx="666983" cy="365125"/>
          </a:xfrm>
          <a:prstGeom prst="rect">
            <a:avLst/>
          </a:prstGeom>
        </p:spPr>
        <p:txBody>
          <a:bodyPr anchor="b" anchorCtr="0"/>
          <a:lstStyle>
            <a:lvl1pPr algn="r">
              <a:defRPr sz="1500">
                <a:solidFill>
                  <a:srgbClr val="0050A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6D8CCFDF-DFA5-484F-9FF8-7212AEA69C4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937335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passad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/>
          <p:cNvSpPr/>
          <p:nvPr userDrawn="1"/>
        </p:nvSpPr>
        <p:spPr>
          <a:xfrm>
            <a:off x="-10078" y="2322"/>
            <a:ext cx="12202079" cy="6855679"/>
          </a:xfrm>
          <a:prstGeom prst="rect">
            <a:avLst/>
          </a:prstGeom>
          <a:solidFill>
            <a:srgbClr val="0050A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13" name="Platshållare för text 12"/>
          <p:cNvSpPr>
            <a:spLocks noGrp="1"/>
          </p:cNvSpPr>
          <p:nvPr>
            <p:ph type="body" sz="quarter" idx="12" hasCustomPrompt="1"/>
          </p:nvPr>
        </p:nvSpPr>
        <p:spPr>
          <a:xfrm>
            <a:off x="10079" y="1346201"/>
            <a:ext cx="12192000" cy="1763788"/>
          </a:xfrm>
          <a:prstGeom prst="rect">
            <a:avLst/>
          </a:prstGeom>
        </p:spPr>
        <p:txBody>
          <a:bodyPr vert="horz" anchor="b" anchorCtr="0"/>
          <a:lstStyle>
            <a:lvl1pPr marL="90488" indent="0" algn="ctr">
              <a:lnSpc>
                <a:spcPct val="80000"/>
              </a:lnSpc>
              <a:buNone/>
              <a:tabLst>
                <a:tab pos="4305300" algn="l"/>
              </a:tabLst>
              <a:defRPr sz="5000" baseline="0">
                <a:solidFill>
                  <a:srgbClr val="FFFFFF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sv-SE" dirty="0"/>
              <a:t>Dagens rubrik</a:t>
            </a:r>
          </a:p>
        </p:txBody>
      </p:sp>
      <p:sp>
        <p:nvSpPr>
          <p:cNvPr id="7" name="Platshållare för text 1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3251201"/>
            <a:ext cx="12192000" cy="837199"/>
          </a:xfrm>
          <a:prstGeom prst="rect">
            <a:avLst/>
          </a:prstGeom>
        </p:spPr>
        <p:txBody>
          <a:bodyPr vert="horz"/>
          <a:lstStyle>
            <a:lvl1pPr marL="90488" indent="0" algn="ctr">
              <a:lnSpc>
                <a:spcPct val="80000"/>
              </a:lnSpc>
              <a:buNone/>
              <a:defRPr sz="240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sv-SE" dirty="0"/>
              <a:t>Underrubrik</a:t>
            </a:r>
          </a:p>
        </p:txBody>
      </p:sp>
      <p:pic>
        <p:nvPicPr>
          <p:cNvPr id="10" name="Bildobjekt 9" descr="ppt_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8865" y="6145193"/>
            <a:ext cx="2273808" cy="457200"/>
          </a:xfrm>
          <a:prstGeom prst="rect">
            <a:avLst/>
          </a:prstGeom>
        </p:spPr>
      </p:pic>
      <p:sp>
        <p:nvSpPr>
          <p:cNvPr id="8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220761" y="6281628"/>
            <a:ext cx="7460612" cy="365125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chemeClr val="tx2"/>
                </a:solidFill>
              </a:defRPr>
            </a:lvl1pPr>
          </a:lstStyle>
          <a:p>
            <a:r>
              <a:rPr lang="sv-SE"/>
              <a:t>Dagens tema, 2015-01-01, Förnamn Efternamn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197095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sida utan 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>
            <a:extLst>
              <a:ext uri="{FF2B5EF4-FFF2-40B4-BE49-F238E27FC236}">
                <a16:creationId xmlns:a16="http://schemas.microsoft.com/office/drawing/2014/main" id="{0C5D4EC2-9FA8-4FE8-96F7-29DCCDEDDB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8728"/>
            <a:ext cx="12202510" cy="220029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C4679F00-E121-4F6A-8D29-D9E7E550A9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52672"/>
            <a:ext cx="9144000" cy="2387600"/>
          </a:xfrm>
        </p:spPr>
        <p:txBody>
          <a:bodyPr anchor="t"/>
          <a:lstStyle>
            <a:lvl1pPr algn="ctr">
              <a:defRPr sz="54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kan</a:t>
            </a:r>
            <a:br>
              <a:rPr lang="sv-SE"/>
            </a:br>
            <a:r>
              <a:rPr lang="sv-SE"/>
              <a:t>vara på tre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9F3B956-728F-4271-9E5F-A466177507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1176772"/>
            <a:ext cx="9144000" cy="410286"/>
          </a:xfrm>
        </p:spPr>
        <p:txBody>
          <a:bodyPr anchor="b"/>
          <a:lstStyle>
            <a:lvl1pPr marL="0" indent="0" algn="ctr">
              <a:buNone/>
              <a:defRPr sz="14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0D46721D-F352-4C9F-8260-E5322AB478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800" y="5685098"/>
            <a:ext cx="1752911" cy="71124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25C65CF8-0829-4AB6-891A-190544AC3286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EBE118A1-F797-4EAF-B63F-697D3863BC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64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198FF978-7AC6-4A7A-943A-D6BAC9303385}"/>
              </a:ext>
            </a:extLst>
          </p:cNvPr>
          <p:cNvSpPr/>
          <p:nvPr userDrawn="1"/>
        </p:nvSpPr>
        <p:spPr>
          <a:xfrm>
            <a:off x="0" y="612997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733B926C-A7EB-4393-AE91-4468A5CB55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0510" y="0"/>
            <a:ext cx="12202510" cy="4781496"/>
          </a:xfrm>
          <a:custGeom>
            <a:avLst/>
            <a:gdLst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18234"/>
              <a:gd name="connsiteX1" fmla="*/ 12192000 w 12192000"/>
              <a:gd name="connsiteY1" fmla="*/ 0 h 5318234"/>
              <a:gd name="connsiteX2" fmla="*/ 12192000 w 12192000"/>
              <a:gd name="connsiteY2" fmla="*/ 5307013 h 5318234"/>
              <a:gd name="connsiteX3" fmla="*/ 6243145 w 12192000"/>
              <a:gd name="connsiteY3" fmla="*/ 5318234 h 5318234"/>
              <a:gd name="connsiteX4" fmla="*/ 0 w 12192000"/>
              <a:gd name="connsiteY4" fmla="*/ 5307013 h 5318234"/>
              <a:gd name="connsiteX5" fmla="*/ 0 w 12192000"/>
              <a:gd name="connsiteY5" fmla="*/ 0 h 5318234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10510 w 12202510"/>
              <a:gd name="connsiteY0" fmla="*/ 0 h 4781496"/>
              <a:gd name="connsiteX1" fmla="*/ 12202510 w 12202510"/>
              <a:gd name="connsiteY1" fmla="*/ 0 h 4781496"/>
              <a:gd name="connsiteX2" fmla="*/ 12202510 w 12202510"/>
              <a:gd name="connsiteY2" fmla="*/ 4781496 h 4781496"/>
              <a:gd name="connsiteX3" fmla="*/ 0 w 12202510"/>
              <a:gd name="connsiteY3" fmla="*/ 4686903 h 4781496"/>
              <a:gd name="connsiteX4" fmla="*/ 10510 w 12202510"/>
              <a:gd name="connsiteY4" fmla="*/ 0 h 4781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2510" h="4781496">
                <a:moveTo>
                  <a:pt x="10510" y="0"/>
                </a:moveTo>
                <a:lnTo>
                  <a:pt x="12202510" y="0"/>
                </a:lnTo>
                <a:lnTo>
                  <a:pt x="12202510" y="4781496"/>
                </a:lnTo>
                <a:cubicBezTo>
                  <a:pt x="10755586" y="4140365"/>
                  <a:pt x="5598509" y="2490241"/>
                  <a:pt x="0" y="4686903"/>
                </a:cubicBezTo>
                <a:cubicBezTo>
                  <a:pt x="3503" y="3124602"/>
                  <a:pt x="7007" y="1562301"/>
                  <a:pt x="10510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tIns="133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435504"/>
            <a:ext cx="10515600" cy="1149264"/>
          </a:xfrm>
        </p:spPr>
        <p:txBody>
          <a:bodyPr/>
          <a:lstStyle>
            <a:lvl1pPr algn="ctr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vå rader</a:t>
            </a:r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1446BD1-50A4-40FE-9679-6F29CE2913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30272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138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198FF978-7AC6-4A7A-943A-D6BAC9303385}"/>
              </a:ext>
            </a:extLst>
          </p:cNvPr>
          <p:cNvSpPr/>
          <p:nvPr userDrawn="1"/>
        </p:nvSpPr>
        <p:spPr>
          <a:xfrm>
            <a:off x="0" y="612997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733B926C-A7EB-4393-AE91-4468A5CB55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0510" y="0"/>
            <a:ext cx="12202510" cy="4781496"/>
          </a:xfrm>
          <a:custGeom>
            <a:avLst/>
            <a:gdLst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18234"/>
              <a:gd name="connsiteX1" fmla="*/ 12192000 w 12192000"/>
              <a:gd name="connsiteY1" fmla="*/ 0 h 5318234"/>
              <a:gd name="connsiteX2" fmla="*/ 12192000 w 12192000"/>
              <a:gd name="connsiteY2" fmla="*/ 5307013 h 5318234"/>
              <a:gd name="connsiteX3" fmla="*/ 6243145 w 12192000"/>
              <a:gd name="connsiteY3" fmla="*/ 5318234 h 5318234"/>
              <a:gd name="connsiteX4" fmla="*/ 0 w 12192000"/>
              <a:gd name="connsiteY4" fmla="*/ 5307013 h 5318234"/>
              <a:gd name="connsiteX5" fmla="*/ 0 w 12192000"/>
              <a:gd name="connsiteY5" fmla="*/ 0 h 5318234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10510 w 12202510"/>
              <a:gd name="connsiteY0" fmla="*/ 0 h 4781496"/>
              <a:gd name="connsiteX1" fmla="*/ 12202510 w 12202510"/>
              <a:gd name="connsiteY1" fmla="*/ 0 h 4781496"/>
              <a:gd name="connsiteX2" fmla="*/ 12202510 w 12202510"/>
              <a:gd name="connsiteY2" fmla="*/ 4781496 h 4781496"/>
              <a:gd name="connsiteX3" fmla="*/ 0 w 12202510"/>
              <a:gd name="connsiteY3" fmla="*/ 4686903 h 4781496"/>
              <a:gd name="connsiteX4" fmla="*/ 10510 w 12202510"/>
              <a:gd name="connsiteY4" fmla="*/ 0 h 4781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2510" h="4781496">
                <a:moveTo>
                  <a:pt x="10510" y="0"/>
                </a:moveTo>
                <a:lnTo>
                  <a:pt x="12202510" y="0"/>
                </a:lnTo>
                <a:lnTo>
                  <a:pt x="12202510" y="4781496"/>
                </a:lnTo>
                <a:cubicBezTo>
                  <a:pt x="10755586" y="4140365"/>
                  <a:pt x="5598509" y="2490241"/>
                  <a:pt x="0" y="4686903"/>
                </a:cubicBezTo>
                <a:cubicBezTo>
                  <a:pt x="3503" y="3124602"/>
                  <a:pt x="7007" y="1562301"/>
                  <a:pt x="1051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tIns="133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435504"/>
            <a:ext cx="10515600" cy="1149264"/>
          </a:xfrm>
        </p:spPr>
        <p:txBody>
          <a:bodyPr/>
          <a:lstStyle>
            <a:lvl1pPr algn="ctr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vå rader</a:t>
            </a:r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1446BD1-50A4-40FE-9679-6F29CE2913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30272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328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, stående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B9B1E09-5306-4C10-87AB-2A88B20FDCA3}"/>
              </a:ext>
            </a:extLst>
          </p:cNvPr>
          <p:cNvSpPr/>
          <p:nvPr userDrawn="1"/>
        </p:nvSpPr>
        <p:spPr>
          <a:xfrm>
            <a:off x="4534293" y="0"/>
            <a:ext cx="7657707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A6D5D8B6-D25B-4C93-B295-E27694AD21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09044" cy="6124575"/>
          </a:xfrm>
          <a:custGeom>
            <a:avLst/>
            <a:gdLst>
              <a:gd name="connsiteX0" fmla="*/ 0 w 5468938"/>
              <a:gd name="connsiteY0" fmla="*/ 0 h 6858000"/>
              <a:gd name="connsiteX1" fmla="*/ 2734469 w 5468938"/>
              <a:gd name="connsiteY1" fmla="*/ 0 h 6858000"/>
              <a:gd name="connsiteX2" fmla="*/ 5468938 w 5468938"/>
              <a:gd name="connsiteY2" fmla="*/ 3429000 h 6858000"/>
              <a:gd name="connsiteX3" fmla="*/ 2734469 w 5468938"/>
              <a:gd name="connsiteY3" fmla="*/ 6858000 h 6858000"/>
              <a:gd name="connsiteX4" fmla="*/ 0 w 5468938"/>
              <a:gd name="connsiteY4" fmla="*/ 6858000 h 6858000"/>
              <a:gd name="connsiteX5" fmla="*/ 0 w 5468938"/>
              <a:gd name="connsiteY5" fmla="*/ 0 h 6858000"/>
              <a:gd name="connsiteX0" fmla="*/ 0 w 5792556"/>
              <a:gd name="connsiteY0" fmla="*/ 0 h 6858000"/>
              <a:gd name="connsiteX1" fmla="*/ 4724633 w 5792556"/>
              <a:gd name="connsiteY1" fmla="*/ 0 h 6858000"/>
              <a:gd name="connsiteX2" fmla="*/ 5468938 w 5792556"/>
              <a:gd name="connsiteY2" fmla="*/ 3429000 h 6858000"/>
              <a:gd name="connsiteX3" fmla="*/ 2734469 w 5792556"/>
              <a:gd name="connsiteY3" fmla="*/ 6858000 h 6858000"/>
              <a:gd name="connsiteX4" fmla="*/ 0 w 5792556"/>
              <a:gd name="connsiteY4" fmla="*/ 6858000 h 6858000"/>
              <a:gd name="connsiteX5" fmla="*/ 0 w 5792556"/>
              <a:gd name="connsiteY5" fmla="*/ 0 h 6858000"/>
              <a:gd name="connsiteX0" fmla="*/ 0 w 5715582"/>
              <a:gd name="connsiteY0" fmla="*/ 0 h 6858000"/>
              <a:gd name="connsiteX1" fmla="*/ 4724633 w 5715582"/>
              <a:gd name="connsiteY1" fmla="*/ 0 h 6858000"/>
              <a:gd name="connsiteX2" fmla="*/ 5468938 w 5715582"/>
              <a:gd name="connsiteY2" fmla="*/ 3429000 h 6858000"/>
              <a:gd name="connsiteX3" fmla="*/ 4814281 w 5715582"/>
              <a:gd name="connsiteY3" fmla="*/ 6858000 h 6858000"/>
              <a:gd name="connsiteX4" fmla="*/ 0 w 5715582"/>
              <a:gd name="connsiteY4" fmla="*/ 6858000 h 6858000"/>
              <a:gd name="connsiteX5" fmla="*/ 0 w 5715582"/>
              <a:gd name="connsiteY5" fmla="*/ 0 h 6858000"/>
              <a:gd name="connsiteX0" fmla="*/ 0 w 5657592"/>
              <a:gd name="connsiteY0" fmla="*/ 0 h 6858000"/>
              <a:gd name="connsiteX1" fmla="*/ 4724633 w 5657592"/>
              <a:gd name="connsiteY1" fmla="*/ 0 h 6858000"/>
              <a:gd name="connsiteX2" fmla="*/ 5468938 w 5657592"/>
              <a:gd name="connsiteY2" fmla="*/ 3429000 h 6858000"/>
              <a:gd name="connsiteX3" fmla="*/ 4814281 w 5657592"/>
              <a:gd name="connsiteY3" fmla="*/ 6858000 h 6858000"/>
              <a:gd name="connsiteX4" fmla="*/ 0 w 5657592"/>
              <a:gd name="connsiteY4" fmla="*/ 6858000 h 6858000"/>
              <a:gd name="connsiteX5" fmla="*/ 0 w 5657592"/>
              <a:gd name="connsiteY5" fmla="*/ 0 h 6858000"/>
              <a:gd name="connsiteX0" fmla="*/ 0 w 5540797"/>
              <a:gd name="connsiteY0" fmla="*/ 0 h 6858000"/>
              <a:gd name="connsiteX1" fmla="*/ 4724633 w 5540797"/>
              <a:gd name="connsiteY1" fmla="*/ 0 h 6858000"/>
              <a:gd name="connsiteX2" fmla="*/ 5468938 w 5540797"/>
              <a:gd name="connsiteY2" fmla="*/ 3429000 h 6858000"/>
              <a:gd name="connsiteX3" fmla="*/ 4814281 w 5540797"/>
              <a:gd name="connsiteY3" fmla="*/ 6858000 h 6858000"/>
              <a:gd name="connsiteX4" fmla="*/ 0 w 5540797"/>
              <a:gd name="connsiteY4" fmla="*/ 6858000 h 6858000"/>
              <a:gd name="connsiteX5" fmla="*/ 0 w 5540797"/>
              <a:gd name="connsiteY5" fmla="*/ 0 h 6858000"/>
              <a:gd name="connsiteX0" fmla="*/ 0 w 5367229"/>
              <a:gd name="connsiteY0" fmla="*/ 0 h 6858000"/>
              <a:gd name="connsiteX1" fmla="*/ 4724633 w 5367229"/>
              <a:gd name="connsiteY1" fmla="*/ 0 h 6858000"/>
              <a:gd name="connsiteX2" fmla="*/ 4814281 w 5367229"/>
              <a:gd name="connsiteY2" fmla="*/ 6858000 h 6858000"/>
              <a:gd name="connsiteX3" fmla="*/ 0 w 5367229"/>
              <a:gd name="connsiteY3" fmla="*/ 6858000 h 6858000"/>
              <a:gd name="connsiteX4" fmla="*/ 0 w 5367229"/>
              <a:gd name="connsiteY4" fmla="*/ 0 h 6858000"/>
              <a:gd name="connsiteX0" fmla="*/ 0 w 5373612"/>
              <a:gd name="connsiteY0" fmla="*/ 0 h 6858000"/>
              <a:gd name="connsiteX1" fmla="*/ 4724633 w 5373612"/>
              <a:gd name="connsiteY1" fmla="*/ 0 h 6858000"/>
              <a:gd name="connsiteX2" fmla="*/ 4814281 w 5373612"/>
              <a:gd name="connsiteY2" fmla="*/ 6858000 h 6858000"/>
              <a:gd name="connsiteX3" fmla="*/ 0 w 5373612"/>
              <a:gd name="connsiteY3" fmla="*/ 6858000 h 6858000"/>
              <a:gd name="connsiteX4" fmla="*/ 0 w 5373612"/>
              <a:gd name="connsiteY4" fmla="*/ 0 h 6858000"/>
              <a:gd name="connsiteX0" fmla="*/ 0 w 5409044"/>
              <a:gd name="connsiteY0" fmla="*/ 0 h 6858000"/>
              <a:gd name="connsiteX1" fmla="*/ 4724633 w 5409044"/>
              <a:gd name="connsiteY1" fmla="*/ 0 h 6858000"/>
              <a:gd name="connsiteX2" fmla="*/ 4814281 w 5409044"/>
              <a:gd name="connsiteY2" fmla="*/ 6858000 h 6858000"/>
              <a:gd name="connsiteX3" fmla="*/ 0 w 5409044"/>
              <a:gd name="connsiteY3" fmla="*/ 6858000 h 6858000"/>
              <a:gd name="connsiteX4" fmla="*/ 0 w 540904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9044" h="6858000">
                <a:moveTo>
                  <a:pt x="0" y="0"/>
                </a:moveTo>
                <a:lnTo>
                  <a:pt x="4724633" y="0"/>
                </a:lnTo>
                <a:cubicBezTo>
                  <a:pt x="5544943" y="1510553"/>
                  <a:pt x="5691367" y="5015753"/>
                  <a:pt x="481428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1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929" y="2438399"/>
            <a:ext cx="5732929" cy="2518839"/>
          </a:xfrm>
        </p:spPr>
        <p:txBody>
          <a:bodyPr anchor="t"/>
          <a:lstStyle>
            <a:lvl1pPr algn="l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re rader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  <p:sp>
        <p:nvSpPr>
          <p:cNvPr id="32" name="Rektangel 31">
            <a:extLst>
              <a:ext uri="{FF2B5EF4-FFF2-40B4-BE49-F238E27FC236}">
                <a16:creationId xmlns:a16="http://schemas.microsoft.com/office/drawing/2014/main" id="{813EFC0E-885A-43B5-9260-07804A71EAA3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Underrubrik 2">
            <a:extLst>
              <a:ext uri="{FF2B5EF4-FFF2-40B4-BE49-F238E27FC236}">
                <a16:creationId xmlns:a16="http://schemas.microsoft.com/office/drawing/2014/main" id="{B8308509-CDE4-4C50-93DD-8185D40323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28479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34" name="Bildobjekt 33">
            <a:extLst>
              <a:ext uri="{FF2B5EF4-FFF2-40B4-BE49-F238E27FC236}">
                <a16:creationId xmlns:a16="http://schemas.microsoft.com/office/drawing/2014/main" id="{F82C88D0-E5EA-4C03-9F7E-472FA161F6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298796"/>
            <a:ext cx="811630" cy="32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223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, stående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B9B1E09-5306-4C10-87AB-2A88B20FDCA3}"/>
              </a:ext>
            </a:extLst>
          </p:cNvPr>
          <p:cNvSpPr/>
          <p:nvPr userDrawn="1"/>
        </p:nvSpPr>
        <p:spPr>
          <a:xfrm>
            <a:off x="4534293" y="0"/>
            <a:ext cx="765770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A6D5D8B6-D25B-4C93-B295-E27694AD21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09044" cy="6115050"/>
          </a:xfrm>
          <a:custGeom>
            <a:avLst/>
            <a:gdLst>
              <a:gd name="connsiteX0" fmla="*/ 0 w 5468938"/>
              <a:gd name="connsiteY0" fmla="*/ 0 h 6858000"/>
              <a:gd name="connsiteX1" fmla="*/ 2734469 w 5468938"/>
              <a:gd name="connsiteY1" fmla="*/ 0 h 6858000"/>
              <a:gd name="connsiteX2" fmla="*/ 5468938 w 5468938"/>
              <a:gd name="connsiteY2" fmla="*/ 3429000 h 6858000"/>
              <a:gd name="connsiteX3" fmla="*/ 2734469 w 5468938"/>
              <a:gd name="connsiteY3" fmla="*/ 6858000 h 6858000"/>
              <a:gd name="connsiteX4" fmla="*/ 0 w 5468938"/>
              <a:gd name="connsiteY4" fmla="*/ 6858000 h 6858000"/>
              <a:gd name="connsiteX5" fmla="*/ 0 w 5468938"/>
              <a:gd name="connsiteY5" fmla="*/ 0 h 6858000"/>
              <a:gd name="connsiteX0" fmla="*/ 0 w 5792556"/>
              <a:gd name="connsiteY0" fmla="*/ 0 h 6858000"/>
              <a:gd name="connsiteX1" fmla="*/ 4724633 w 5792556"/>
              <a:gd name="connsiteY1" fmla="*/ 0 h 6858000"/>
              <a:gd name="connsiteX2" fmla="*/ 5468938 w 5792556"/>
              <a:gd name="connsiteY2" fmla="*/ 3429000 h 6858000"/>
              <a:gd name="connsiteX3" fmla="*/ 2734469 w 5792556"/>
              <a:gd name="connsiteY3" fmla="*/ 6858000 h 6858000"/>
              <a:gd name="connsiteX4" fmla="*/ 0 w 5792556"/>
              <a:gd name="connsiteY4" fmla="*/ 6858000 h 6858000"/>
              <a:gd name="connsiteX5" fmla="*/ 0 w 5792556"/>
              <a:gd name="connsiteY5" fmla="*/ 0 h 6858000"/>
              <a:gd name="connsiteX0" fmla="*/ 0 w 5715582"/>
              <a:gd name="connsiteY0" fmla="*/ 0 h 6858000"/>
              <a:gd name="connsiteX1" fmla="*/ 4724633 w 5715582"/>
              <a:gd name="connsiteY1" fmla="*/ 0 h 6858000"/>
              <a:gd name="connsiteX2" fmla="*/ 5468938 w 5715582"/>
              <a:gd name="connsiteY2" fmla="*/ 3429000 h 6858000"/>
              <a:gd name="connsiteX3" fmla="*/ 4814281 w 5715582"/>
              <a:gd name="connsiteY3" fmla="*/ 6858000 h 6858000"/>
              <a:gd name="connsiteX4" fmla="*/ 0 w 5715582"/>
              <a:gd name="connsiteY4" fmla="*/ 6858000 h 6858000"/>
              <a:gd name="connsiteX5" fmla="*/ 0 w 5715582"/>
              <a:gd name="connsiteY5" fmla="*/ 0 h 6858000"/>
              <a:gd name="connsiteX0" fmla="*/ 0 w 5657592"/>
              <a:gd name="connsiteY0" fmla="*/ 0 h 6858000"/>
              <a:gd name="connsiteX1" fmla="*/ 4724633 w 5657592"/>
              <a:gd name="connsiteY1" fmla="*/ 0 h 6858000"/>
              <a:gd name="connsiteX2" fmla="*/ 5468938 w 5657592"/>
              <a:gd name="connsiteY2" fmla="*/ 3429000 h 6858000"/>
              <a:gd name="connsiteX3" fmla="*/ 4814281 w 5657592"/>
              <a:gd name="connsiteY3" fmla="*/ 6858000 h 6858000"/>
              <a:gd name="connsiteX4" fmla="*/ 0 w 5657592"/>
              <a:gd name="connsiteY4" fmla="*/ 6858000 h 6858000"/>
              <a:gd name="connsiteX5" fmla="*/ 0 w 5657592"/>
              <a:gd name="connsiteY5" fmla="*/ 0 h 6858000"/>
              <a:gd name="connsiteX0" fmla="*/ 0 w 5540797"/>
              <a:gd name="connsiteY0" fmla="*/ 0 h 6858000"/>
              <a:gd name="connsiteX1" fmla="*/ 4724633 w 5540797"/>
              <a:gd name="connsiteY1" fmla="*/ 0 h 6858000"/>
              <a:gd name="connsiteX2" fmla="*/ 5468938 w 5540797"/>
              <a:gd name="connsiteY2" fmla="*/ 3429000 h 6858000"/>
              <a:gd name="connsiteX3" fmla="*/ 4814281 w 5540797"/>
              <a:gd name="connsiteY3" fmla="*/ 6858000 h 6858000"/>
              <a:gd name="connsiteX4" fmla="*/ 0 w 5540797"/>
              <a:gd name="connsiteY4" fmla="*/ 6858000 h 6858000"/>
              <a:gd name="connsiteX5" fmla="*/ 0 w 5540797"/>
              <a:gd name="connsiteY5" fmla="*/ 0 h 6858000"/>
              <a:gd name="connsiteX0" fmla="*/ 0 w 5367229"/>
              <a:gd name="connsiteY0" fmla="*/ 0 h 6858000"/>
              <a:gd name="connsiteX1" fmla="*/ 4724633 w 5367229"/>
              <a:gd name="connsiteY1" fmla="*/ 0 h 6858000"/>
              <a:gd name="connsiteX2" fmla="*/ 4814281 w 5367229"/>
              <a:gd name="connsiteY2" fmla="*/ 6858000 h 6858000"/>
              <a:gd name="connsiteX3" fmla="*/ 0 w 5367229"/>
              <a:gd name="connsiteY3" fmla="*/ 6858000 h 6858000"/>
              <a:gd name="connsiteX4" fmla="*/ 0 w 5367229"/>
              <a:gd name="connsiteY4" fmla="*/ 0 h 6858000"/>
              <a:gd name="connsiteX0" fmla="*/ 0 w 5373612"/>
              <a:gd name="connsiteY0" fmla="*/ 0 h 6858000"/>
              <a:gd name="connsiteX1" fmla="*/ 4724633 w 5373612"/>
              <a:gd name="connsiteY1" fmla="*/ 0 h 6858000"/>
              <a:gd name="connsiteX2" fmla="*/ 4814281 w 5373612"/>
              <a:gd name="connsiteY2" fmla="*/ 6858000 h 6858000"/>
              <a:gd name="connsiteX3" fmla="*/ 0 w 5373612"/>
              <a:gd name="connsiteY3" fmla="*/ 6858000 h 6858000"/>
              <a:gd name="connsiteX4" fmla="*/ 0 w 5373612"/>
              <a:gd name="connsiteY4" fmla="*/ 0 h 6858000"/>
              <a:gd name="connsiteX0" fmla="*/ 0 w 5409044"/>
              <a:gd name="connsiteY0" fmla="*/ 0 h 6858000"/>
              <a:gd name="connsiteX1" fmla="*/ 4724633 w 5409044"/>
              <a:gd name="connsiteY1" fmla="*/ 0 h 6858000"/>
              <a:gd name="connsiteX2" fmla="*/ 4814281 w 5409044"/>
              <a:gd name="connsiteY2" fmla="*/ 6858000 h 6858000"/>
              <a:gd name="connsiteX3" fmla="*/ 0 w 5409044"/>
              <a:gd name="connsiteY3" fmla="*/ 6858000 h 6858000"/>
              <a:gd name="connsiteX4" fmla="*/ 0 w 540904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9044" h="6858000">
                <a:moveTo>
                  <a:pt x="0" y="0"/>
                </a:moveTo>
                <a:lnTo>
                  <a:pt x="4724633" y="0"/>
                </a:lnTo>
                <a:cubicBezTo>
                  <a:pt x="5544943" y="1510553"/>
                  <a:pt x="5691367" y="5015753"/>
                  <a:pt x="481428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1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929" y="2438399"/>
            <a:ext cx="5732929" cy="2518839"/>
          </a:xfrm>
        </p:spPr>
        <p:txBody>
          <a:bodyPr anchor="t"/>
          <a:lstStyle>
            <a:lvl1pPr algn="l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re rader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  <p:sp>
        <p:nvSpPr>
          <p:cNvPr id="32" name="Rektangel 31">
            <a:extLst>
              <a:ext uri="{FF2B5EF4-FFF2-40B4-BE49-F238E27FC236}">
                <a16:creationId xmlns:a16="http://schemas.microsoft.com/office/drawing/2014/main" id="{D7C6379A-E5B9-4DBE-87E3-D8A0F4B3241B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Underrubrik 2">
            <a:extLst>
              <a:ext uri="{FF2B5EF4-FFF2-40B4-BE49-F238E27FC236}">
                <a16:creationId xmlns:a16="http://schemas.microsoft.com/office/drawing/2014/main" id="{98DE3D41-C2B5-4D95-91B2-B0834D588D4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28479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34" name="Bildobjekt 33">
            <a:extLst>
              <a:ext uri="{FF2B5EF4-FFF2-40B4-BE49-F238E27FC236}">
                <a16:creationId xmlns:a16="http://schemas.microsoft.com/office/drawing/2014/main" id="{2BD7D724-E84A-4821-8A86-18337A8323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298796"/>
            <a:ext cx="811630" cy="32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685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sida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B980B2C3-6720-4B17-BCEF-D058EE6EA5EF}"/>
              </a:ext>
            </a:extLst>
          </p:cNvPr>
          <p:cNvSpPr/>
          <p:nvPr userDrawn="1"/>
        </p:nvSpPr>
        <p:spPr>
          <a:xfrm>
            <a:off x="0" y="0"/>
            <a:ext cx="12192000" cy="61170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40043"/>
            <a:ext cx="10515600" cy="2679331"/>
          </a:xfrm>
        </p:spPr>
        <p:txBody>
          <a:bodyPr anchor="ctr"/>
          <a:lstStyle>
            <a:lvl1pPr algn="ctr">
              <a:defRPr sz="4600"/>
            </a:lvl1pPr>
          </a:lstStyle>
          <a:p>
            <a:r>
              <a:rPr lang="sv-SE">
                <a:solidFill>
                  <a:schemeClr val="accent1"/>
                </a:solidFill>
              </a:rPr>
              <a:t>Vi finns på</a:t>
            </a:r>
            <a:br>
              <a:rPr lang="sv-SE"/>
            </a:br>
            <a:r>
              <a:rPr lang="sv-SE"/>
              <a:t>webb och telefon och</a:t>
            </a:r>
            <a:br>
              <a:rPr lang="sv-SE"/>
            </a:br>
            <a:r>
              <a:rPr lang="sv-SE"/>
              <a:t>har öppet dygnet runt</a:t>
            </a:r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E744CDB5-661C-4791-9896-07C2BE046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B7223757-76B0-47E7-AE0D-6C3F025C0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61846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40043"/>
            <a:ext cx="10515600" cy="2679331"/>
          </a:xfrm>
        </p:spPr>
        <p:txBody>
          <a:bodyPr anchor="ctr"/>
          <a:lstStyle>
            <a:lvl1pPr algn="ctr">
              <a:defRPr sz="4600"/>
            </a:lvl1pPr>
          </a:lstStyle>
          <a:p>
            <a:r>
              <a:rPr lang="sv-SE">
                <a:solidFill>
                  <a:schemeClr val="accent1"/>
                </a:solidFill>
              </a:rPr>
              <a:t>Vi finns på</a:t>
            </a:r>
            <a:br>
              <a:rPr lang="sv-SE"/>
            </a:br>
            <a:r>
              <a:rPr lang="sv-SE"/>
              <a:t>webb och telefon och</a:t>
            </a:r>
            <a:br>
              <a:rPr lang="sv-SE"/>
            </a:br>
            <a:r>
              <a:rPr lang="sv-SE"/>
              <a:t>har öppet dygnet runt</a:t>
            </a:r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E744CDB5-661C-4791-9896-07C2BE046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B7223757-76B0-47E7-AE0D-6C3F025C0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8423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296" y="84221"/>
            <a:ext cx="10072630" cy="1149264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Rubrik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3" y="1693273"/>
            <a:ext cx="10018845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365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223EEBE-07D2-4BC2-B732-B72D949BF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4975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11" imgH="412" progId="TCLayout.ActiveDocument.1">
                  <p:embed/>
                </p:oleObj>
              </mc:Choice>
              <mc:Fallback>
                <p:oleObj name="think-cell Slide" r:id="rId17" imgW="411" imgH="412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223EEBE-07D2-4BC2-B732-B72D949B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id="{92491012-DCA1-42B2-89F4-9B6C3B60D0E8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400" b="1" i="0" baseline="0">
              <a:latin typeface="Inter"/>
              <a:ea typeface="+mj-ea"/>
              <a:cs typeface="+mj-cs"/>
              <a:sym typeface="Inter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113D54B3-3F29-493D-B9C7-8FF2C8DE3569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DC7C7845-42F2-47E4-96D5-7F5977D34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296" y="84221"/>
            <a:ext cx="10515600" cy="11492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2B6E503-A6AE-440E-9524-D5848DBA3F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22424" y="1693273"/>
            <a:ext cx="10459450" cy="35645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83F6A5D-1C51-4365-ABBC-26E2E26DE4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CE1800B5-0CC4-499E-AD85-61BE4A07F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DEAFFFF7-0E10-4F4B-9970-4B0EEECA8447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cxnSp>
        <p:nvCxnSpPr>
          <p:cNvPr id="16" name="Rak koppling 15">
            <a:extLst>
              <a:ext uri="{FF2B5EF4-FFF2-40B4-BE49-F238E27FC236}">
                <a16:creationId xmlns:a16="http://schemas.microsoft.com/office/drawing/2014/main" id="{FB36DCB9-B0BC-4692-9E94-7E0F650AAE02}"/>
              </a:ext>
            </a:extLst>
          </p:cNvPr>
          <p:cNvCxnSpPr>
            <a:cxnSpLocks/>
          </p:cNvCxnSpPr>
          <p:nvPr userDrawn="1"/>
        </p:nvCxnSpPr>
        <p:spPr>
          <a:xfrm flipH="1">
            <a:off x="642809" y="6450806"/>
            <a:ext cx="16637" cy="813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ktangel 3">
            <a:extLst>
              <a:ext uri="{FF2B5EF4-FFF2-40B4-BE49-F238E27FC236}">
                <a16:creationId xmlns:a16="http://schemas.microsoft.com/office/drawing/2014/main" id="{EB9E73E2-B998-4067-931F-01E9716BB421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4857C6E5-A5AF-4290-829D-C981D052ABE1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584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1" r:id="rId3"/>
    <p:sldLayoutId id="2147483659" r:id="rId4"/>
    <p:sldLayoutId id="2147483656" r:id="rId5"/>
    <p:sldLayoutId id="2147483657" r:id="rId6"/>
    <p:sldLayoutId id="2147483660" r:id="rId7"/>
    <p:sldLayoutId id="2147483653" r:id="rId8"/>
    <p:sldLayoutId id="2147483654" r:id="rId9"/>
    <p:sldLayoutId id="2147483664" r:id="rId10"/>
    <p:sldLayoutId id="2147483652" r:id="rId11"/>
    <p:sldLayoutId id="2147483655" r:id="rId12"/>
    <p:sldLayoutId id="2147483661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 spc="-15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95801" y="6333645"/>
            <a:ext cx="666983" cy="365125"/>
          </a:xfrm>
          <a:prstGeom prst="rect">
            <a:avLst/>
          </a:prstGeom>
        </p:spPr>
        <p:txBody>
          <a:bodyPr anchor="b" anchorCtr="0"/>
          <a:lstStyle>
            <a:lvl1pPr algn="r">
              <a:defRPr sz="1500">
                <a:solidFill>
                  <a:srgbClr val="0050A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6D8CCFDF-DFA5-484F-9FF8-7212AEA69C4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61492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8" r:id="rId2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Georgia"/>
          <a:ea typeface="+mj-ea"/>
          <a:cs typeface="Georgia"/>
        </a:defRPr>
      </a:lvl1pPr>
    </p:titleStyle>
    <p:bodyStyle>
      <a:lvl1pPr marL="442913" indent="-352425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Ehalsa@regionostergotland.se" TargetMode="External"/><Relationship Id="rId2" Type="http://schemas.openxmlformats.org/officeDocument/2006/relationships/hyperlink" Target="mailto:Agneta.Sandell.Kindstedt@regionostergotland.se" TargetMode="Externa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png"/><Relationship Id="rId5" Type="http://schemas.openxmlformats.org/officeDocument/2006/relationships/image" Target="../media/image10.svg"/><Relationship Id="rId4" Type="http://schemas.openxmlformats.org/officeDocument/2006/relationships/image" Target="../media/image9.png"/><Relationship Id="rId9" Type="http://schemas.openxmlformats.org/officeDocument/2006/relationships/image" Target="../media/image14.sv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6573EA7-C0D5-4A99-856B-5428F6A2DA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Användarforum </a:t>
            </a:r>
            <a:br>
              <a:rPr lang="sv-SE" dirty="0">
                <a:solidFill>
                  <a:schemeClr val="accent1"/>
                </a:solidFill>
              </a:rPr>
            </a:br>
            <a:r>
              <a:rPr lang="sv-SE" sz="1200" dirty="0">
                <a:solidFill>
                  <a:schemeClr val="accent1"/>
                </a:solidFill>
              </a:rPr>
              <a:t> </a:t>
            </a:r>
            <a:br>
              <a:rPr lang="sv-SE" dirty="0">
                <a:solidFill>
                  <a:schemeClr val="accent1"/>
                </a:solidFill>
              </a:rPr>
            </a:br>
            <a:r>
              <a:rPr lang="sv-SE" sz="3600" dirty="0">
                <a:solidFill>
                  <a:schemeClr val="accent1"/>
                </a:solidFill>
              </a:rPr>
              <a:t>Stöd och behandling</a:t>
            </a:r>
            <a:endParaRPr lang="sv-SE" dirty="0"/>
          </a:p>
        </p:txBody>
      </p:sp>
      <p:sp>
        <p:nvSpPr>
          <p:cNvPr id="4" name="Underrubrik 3">
            <a:extLst>
              <a:ext uri="{FF2B5EF4-FFF2-40B4-BE49-F238E27FC236}">
                <a16:creationId xmlns:a16="http://schemas.microsoft.com/office/drawing/2014/main" id="{7C3A8192-81A1-4B54-8CE2-055E1C43C1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/>
              <a:t>2022-04-22</a:t>
            </a:r>
          </a:p>
        </p:txBody>
      </p:sp>
    </p:spTree>
    <p:extLst>
      <p:ext uri="{BB962C8B-B14F-4D97-AF65-F5344CB8AC3E}">
        <p14:creationId xmlns:p14="http://schemas.microsoft.com/office/powerpoint/2010/main" val="2974578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4FF1BF26-510B-4094-B3D0-FC2A4ABE143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90488" indent="0">
              <a:buNone/>
            </a:pPr>
            <a:r>
              <a:rPr lang="sv-SE" sz="3200" dirty="0"/>
              <a:t>E- hälsa/förvaltningen av invånartjänster:</a:t>
            </a:r>
          </a:p>
          <a:p>
            <a:pPr marL="90488" indent="0">
              <a:buNone/>
            </a:pPr>
            <a:endParaRPr lang="sv-SE" sz="800" dirty="0"/>
          </a:p>
          <a:p>
            <a:pPr marL="547688" indent="-457200">
              <a:buFont typeface="+mj-lt"/>
              <a:buAutoNum type="arabicPeriod"/>
            </a:pPr>
            <a:r>
              <a:rPr lang="sv-SE" dirty="0"/>
              <a:t>Säkerställer att e-tjänstekort är giltigt och är på plats, cashminnet tömt mm</a:t>
            </a:r>
          </a:p>
          <a:p>
            <a:pPr marL="547688" indent="-457200">
              <a:buFont typeface="+mj-lt"/>
              <a:buAutoNum type="arabicPeriod"/>
            </a:pPr>
            <a:r>
              <a:rPr lang="sv-SE" dirty="0"/>
              <a:t>Tittar på problemet tillsammans med behandlaren, tex via digitalt möte.</a:t>
            </a:r>
          </a:p>
          <a:p>
            <a:pPr marL="547688" indent="-457200">
              <a:buFont typeface="+mj-lt"/>
              <a:buAutoNum type="arabicPeriod"/>
            </a:pPr>
            <a:r>
              <a:rPr lang="sv-SE" dirty="0"/>
              <a:t>Kvarstår felet tas </a:t>
            </a:r>
            <a:r>
              <a:rPr lang="sv-SE" dirty="0" err="1"/>
              <a:t>skärmdumpar</a:t>
            </a:r>
            <a:r>
              <a:rPr lang="sv-SE" dirty="0"/>
              <a:t> och förvaltaren gör ett ärende till Inera. </a:t>
            </a:r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AF223425-4443-478F-A95C-FEE4ADF60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redje linjens support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A14D7A74-3F94-48FC-9ED5-8E1AACCF38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8CCFDF-DFA5-484F-9FF8-7212AEA69C48}" type="slidenum">
              <a:rPr lang="sv-SE" smtClean="0"/>
              <a:pPr/>
              <a:t>10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622827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918C5A70-247D-4B65-9738-F998802022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dirty="0"/>
              <a:t>Kan vara svårt få kontakt med behandlare som ofta är upptagna med patienter.</a:t>
            </a:r>
          </a:p>
          <a:p>
            <a:r>
              <a:rPr lang="sv-SE"/>
              <a:t>Behandlaren uttrycker att de inte har tid att lägga på ”gemensam” felsökning.</a:t>
            </a:r>
            <a:endParaRPr lang="sv-SE" dirty="0"/>
          </a:p>
          <a:p>
            <a:r>
              <a:rPr lang="sv-SE" dirty="0"/>
              <a:t>Det går inte att återskapa problemet när vi tittar på  det tillsammans. </a:t>
            </a:r>
          </a:p>
          <a:p>
            <a:r>
              <a:rPr lang="sv-SE" dirty="0"/>
              <a:t>Ibland har behandlaren valt att avsluta momentet och startat upp ett nytt i väntan på hjälp. </a:t>
            </a:r>
          </a:p>
          <a:p>
            <a:r>
              <a:rPr lang="sv-SE" dirty="0"/>
              <a:t>Många steg i supportkedjan kan skapa långa ledtider innan problemet blir behandlat. </a:t>
            </a:r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5CF363E4-43C4-42C6-9262-8E02A68D53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Utmaningar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E8A2EDC8-51B2-4F82-88C0-1DD1C2CB31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8CCFDF-DFA5-484F-9FF8-7212AEA69C48}" type="slidenum">
              <a:rPr lang="sv-SE" smtClean="0"/>
              <a:pPr/>
              <a:t>11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457280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09A71C5D-5E6F-4304-9FC8-9A2B4FF1D7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90488" indent="0">
              <a:buNone/>
            </a:pPr>
            <a:r>
              <a:rPr lang="sv-SE" b="1" dirty="0"/>
              <a:t>Förvaltare av Stöd och behandling i Östergötland: </a:t>
            </a:r>
          </a:p>
          <a:p>
            <a:pPr marL="90488" indent="0">
              <a:buNone/>
            </a:pPr>
            <a:endParaRPr lang="sv-SE" sz="800" b="1" dirty="0"/>
          </a:p>
          <a:p>
            <a:pPr marL="90488" indent="0">
              <a:buNone/>
            </a:pPr>
            <a:r>
              <a:rPr lang="da-DK" dirty="0"/>
              <a:t>Sandell Kindstedt Agneta </a:t>
            </a:r>
            <a:r>
              <a:rPr lang="da-DK" dirty="0">
                <a:hlinkClick r:id="rId2"/>
              </a:rPr>
              <a:t>Agneta.Sandell.Kindstedt@regionostergotland.se</a:t>
            </a:r>
            <a:endParaRPr lang="da-DK" dirty="0"/>
          </a:p>
          <a:p>
            <a:pPr marL="90488" indent="0">
              <a:buNone/>
            </a:pPr>
            <a:endParaRPr lang="sv-SE" dirty="0"/>
          </a:p>
          <a:p>
            <a:pPr marL="90488" indent="0">
              <a:buNone/>
            </a:pPr>
            <a:endParaRPr lang="sv-SE" b="1" dirty="0"/>
          </a:p>
          <a:p>
            <a:pPr marL="90488" indent="0">
              <a:buNone/>
            </a:pPr>
            <a:r>
              <a:rPr lang="sv-SE" b="1" dirty="0" err="1"/>
              <a:t>Ehälsa</a:t>
            </a:r>
            <a:r>
              <a:rPr lang="sv-SE" b="1" dirty="0"/>
              <a:t>/Förvaltning av invånartjänster:</a:t>
            </a:r>
          </a:p>
          <a:p>
            <a:pPr marL="90488" indent="0">
              <a:buNone/>
            </a:pPr>
            <a:endParaRPr lang="sv-SE" sz="800" b="1" dirty="0"/>
          </a:p>
          <a:p>
            <a:pPr marL="90488" indent="0">
              <a:buNone/>
            </a:pPr>
            <a:r>
              <a:rPr lang="sv-SE" dirty="0">
                <a:hlinkClick r:id="rId3"/>
              </a:rPr>
              <a:t>Ehalsa@regionostergotland.se</a:t>
            </a:r>
            <a:endParaRPr lang="sv-SE" dirty="0"/>
          </a:p>
          <a:p>
            <a:pPr marL="90488" indent="0">
              <a:buNone/>
            </a:pPr>
            <a:endParaRPr lang="sv-SE" dirty="0"/>
          </a:p>
          <a:p>
            <a:pPr marL="90488" indent="0">
              <a:buNone/>
            </a:pPr>
            <a:endParaRPr lang="sv-SE" dirty="0"/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CA36B575-143A-4BA0-A52D-C3B1FD178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ontaktuppgifter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A9B7D03-0A91-4893-B1B3-69D2FEE9E5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8CCFDF-DFA5-484F-9FF8-7212AEA69C48}" type="slidenum">
              <a:rPr lang="sv-SE" smtClean="0"/>
              <a:pPr/>
              <a:t>12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738039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CFCCCF5-BAA9-4E4C-96B6-6829CE835F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ea typeface="+mj-lt"/>
                <a:cs typeface="+mj-lt"/>
              </a:rPr>
              <a:t>Agenda</a:t>
            </a:r>
            <a:endParaRPr lang="sv-SE"/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BC5C837C-7D53-4E50-BDC1-752E6FCF03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6275" y="1406194"/>
            <a:ext cx="10459450" cy="3564527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Östergötland: Supportrutiner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b="1" dirty="0">
                <a:solidFill>
                  <a:schemeClr val="tx1"/>
                </a:solidFill>
                <a:ea typeface="Open Sans"/>
                <a:cs typeface="Open Sans"/>
              </a:rPr>
              <a:t>Anmälda frågor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Kommande användarforum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Sammanfattning av användarforum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 </a:t>
            </a: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B9BDEB0-A059-4A27-A7FB-18D322E606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F71C981C-F9F9-4167-9BDA-91B21A785F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89687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4B2BEF8-01CD-4A03-9D30-20586E8F9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nmälda frågo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BC8B6A8-FA44-4826-BFC4-C777DD6253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1624010-297C-4113-A6BC-75365C9B3E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5C3CD84-EEA9-4799-B58E-C8C47FD6C4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389D8-6223-4B1D-82AB-19C377706A8C}" type="slidenum">
              <a:rPr lang="sv-SE" smtClean="0"/>
              <a:t>1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429159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CFCCCF5-BAA9-4E4C-96B6-6829CE835F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ea typeface="+mj-lt"/>
                <a:cs typeface="+mj-lt"/>
              </a:rPr>
              <a:t>Agenda</a:t>
            </a:r>
            <a:endParaRPr lang="sv-SE"/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BC5C837C-7D53-4E50-BDC1-752E6FCF03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6275" y="1406194"/>
            <a:ext cx="10459450" cy="3564527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Östergötland: Supportrutiner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Anmälda frågor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b="1" dirty="0">
                <a:solidFill>
                  <a:schemeClr val="tx1"/>
                </a:solidFill>
                <a:ea typeface="Open Sans"/>
                <a:cs typeface="Open Sans"/>
              </a:rPr>
              <a:t>Kommande användarforum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Sammanfattning av användarforum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 </a:t>
            </a: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B9BDEB0-A059-4A27-A7FB-18D322E606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F71C981C-F9F9-4167-9BDA-91B21A785F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20359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598CC98-26D1-42F0-87D4-2E3B8705BB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/>
              <a:t>Vårens kommande Användarforum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E215758-AD04-4783-8B7A-EA30D128D1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917" y="1646736"/>
            <a:ext cx="11566357" cy="3564527"/>
          </a:xfrm>
        </p:spPr>
        <p:txBody>
          <a:bodyPr vert="horz" lIns="0" tIns="0" rIns="0" bIns="0" rtlCol="0" anchor="t">
            <a:noAutofit/>
          </a:bodyPr>
          <a:lstStyle/>
          <a:p>
            <a:endParaRPr lang="sv-SE" dirty="0"/>
          </a:p>
          <a:p>
            <a:r>
              <a:rPr lang="sv-SE" dirty="0"/>
              <a:t>20 maj - ?</a:t>
            </a:r>
            <a:endParaRPr lang="sv-SE" dirty="0">
              <a:ea typeface="Open Sans"/>
              <a:cs typeface="Open Sans"/>
            </a:endParaRPr>
          </a:p>
          <a:p>
            <a:endParaRPr lang="sv-SE" dirty="0">
              <a:ea typeface="Open Sans"/>
              <a:cs typeface="Open Sans"/>
            </a:endParaRPr>
          </a:p>
          <a:p>
            <a:endParaRPr lang="sv-SE" dirty="0"/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368714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CFCCCF5-BAA9-4E4C-96B6-6829CE835F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ea typeface="+mj-lt"/>
                <a:cs typeface="+mj-lt"/>
              </a:rPr>
              <a:t>Agenda</a:t>
            </a:r>
            <a:endParaRPr lang="sv-SE"/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BC5C837C-7D53-4E50-BDC1-752E6FCF03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6275" y="1406194"/>
            <a:ext cx="10459450" cy="3564527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Östergötland: Supportrutiner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Anmälda frågor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Kommande användarforum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b="1" dirty="0">
                <a:solidFill>
                  <a:schemeClr val="tx1"/>
                </a:solidFill>
                <a:ea typeface="Open Sans"/>
                <a:cs typeface="Open Sans"/>
              </a:rPr>
              <a:t>Sammanfattning av användarforum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 </a:t>
            </a: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B9BDEB0-A059-4A27-A7FB-18D322E606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F71C981C-F9F9-4167-9BDA-91B21A785F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81310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76840DE-D0FF-4145-843F-B1AB943A3D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ammanfattning av dagens användarforum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8F0BB36F-BDC0-4C02-A2FD-EB8CEA53D6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Östergötland: Supportrutiner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Anmälda frågor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Kommande användarforum</a:t>
            </a:r>
          </a:p>
          <a:p>
            <a:endParaRPr lang="sv-SE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79CFE46A-FE09-46F7-953A-876A2F174B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9F2390D9-FD4B-49A5-A84A-D5E6DDB850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389D8-6223-4B1D-82AB-19C377706A8C}" type="slidenum">
              <a:rPr lang="sv-SE" smtClean="0"/>
              <a:t>1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308188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C28D93B-810B-4496-B5A7-8067431BE5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40043"/>
            <a:ext cx="10515600" cy="4588041"/>
          </a:xfrm>
        </p:spPr>
        <p:txBody>
          <a:bodyPr/>
          <a:lstStyle/>
          <a:p>
            <a:r>
              <a:rPr lang="sv-SE"/>
              <a:t>Tack för er uppmärksamhet!</a:t>
            </a:r>
            <a:br>
              <a:rPr lang="sv-SE"/>
            </a:br>
            <a:br>
              <a:rPr lang="sv-SE" sz="2400">
                <a:latin typeface="+mn-lt"/>
              </a:rPr>
            </a:br>
            <a:r>
              <a:rPr lang="sv-SE" sz="2400">
                <a:ea typeface="+mj-lt"/>
                <a:cs typeface="+mj-lt"/>
              </a:rPr>
              <a:t>Finns det fördjupningsområde ni är intresserade av att höra om eller kanske själva prata om? Skicka ett ärende till supporten och tagga med ”Användarforum”</a:t>
            </a:r>
            <a:endParaRPr lang="sv-SE">
              <a:ea typeface="+mj-lt"/>
              <a:cs typeface="+mj-lt"/>
            </a:endParaRP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1B2485EB-416D-41A4-8A24-F8A094637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0576C32-35B8-4D1C-9C86-5C58C6FF8A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19666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B3CAC4E-845C-4464-A04D-C4DB3DE46A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944713"/>
          </a:xfrm>
        </p:spPr>
        <p:txBody>
          <a:bodyPr/>
          <a:lstStyle/>
          <a:p>
            <a:pPr algn="ctr"/>
            <a:r>
              <a:rPr lang="en-US"/>
              <a:t>Innan vi börjar….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993CAB1-87C1-455A-819E-ACEEB29378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1130280" cy="4351338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sv-SE"/>
              <a:t>Stäng av er kamera</a:t>
            </a:r>
          </a:p>
          <a:p>
            <a:pPr>
              <a:buFont typeface="Wingdings" panose="05000000000000000000" pitchFamily="2" charset="2"/>
              <a:buChar char="ü"/>
            </a:pPr>
            <a:endParaRPr lang="sv-SE"/>
          </a:p>
          <a:p>
            <a:pPr>
              <a:buFont typeface="Wingdings" panose="05000000000000000000" pitchFamily="2" charset="2"/>
              <a:buChar char="ü"/>
            </a:pPr>
            <a:r>
              <a:rPr lang="sv-SE"/>
              <a:t>Var med i chatten.</a:t>
            </a:r>
          </a:p>
          <a:p>
            <a:pPr>
              <a:buFont typeface="Wingdings" panose="05000000000000000000" pitchFamily="2" charset="2"/>
              <a:buChar char="ü"/>
            </a:pPr>
            <a:endParaRPr lang="sv-SE"/>
          </a:p>
          <a:p>
            <a:pPr>
              <a:buFont typeface="Wingdings" panose="05000000000000000000" pitchFamily="2" charset="2"/>
              <a:buChar char="ü"/>
            </a:pPr>
            <a:r>
              <a:rPr lang="sv-SE"/>
              <a:t>Se till att din mikrofon är avstängd, förutom när du vill säga något.</a:t>
            </a:r>
            <a:br>
              <a:rPr lang="sv-SE"/>
            </a:br>
            <a:r>
              <a:rPr lang="sv-SE"/>
              <a:t>Om du vill prata, glöm inte att inleda med att presentera dig med namn samt region. </a:t>
            </a:r>
          </a:p>
          <a:p>
            <a:pPr>
              <a:buFont typeface="Wingdings" panose="05000000000000000000" pitchFamily="2" charset="2"/>
              <a:buChar char="ü"/>
            </a:pPr>
            <a:endParaRPr lang="sv-SE"/>
          </a:p>
          <a:p>
            <a:pPr>
              <a:buFont typeface="Wingdings" panose="05000000000000000000" pitchFamily="2" charset="2"/>
              <a:buChar char="ü"/>
            </a:pPr>
            <a:r>
              <a:rPr lang="sv-SE"/>
              <a:t>Användarforumet spelas in och läggs på Förvaltningens informationssida</a:t>
            </a:r>
            <a:endParaRPr lang="en-US"/>
          </a:p>
        </p:txBody>
      </p:sp>
      <p:pic>
        <p:nvPicPr>
          <p:cNvPr id="5" name="Bild 4" descr="Poddsändning">
            <a:extLst>
              <a:ext uri="{FF2B5EF4-FFF2-40B4-BE49-F238E27FC236}">
                <a16:creationId xmlns:a16="http://schemas.microsoft.com/office/drawing/2014/main" id="{BBECEADC-8CA8-4164-849C-07EB5F4D13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82879" y="3944758"/>
            <a:ext cx="819364" cy="819364"/>
          </a:xfrm>
          <a:prstGeom prst="rect">
            <a:avLst/>
          </a:prstGeom>
        </p:spPr>
      </p:pic>
      <p:pic>
        <p:nvPicPr>
          <p:cNvPr id="6" name="Bild 5" descr="Videokamera">
            <a:extLst>
              <a:ext uri="{FF2B5EF4-FFF2-40B4-BE49-F238E27FC236}">
                <a16:creationId xmlns:a16="http://schemas.microsoft.com/office/drawing/2014/main" id="{444986D8-15ED-4B88-BCA7-52BCC50FBD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82879" y="1531312"/>
            <a:ext cx="819364" cy="819364"/>
          </a:xfrm>
          <a:prstGeom prst="rect">
            <a:avLst/>
          </a:prstGeom>
        </p:spPr>
      </p:pic>
      <p:pic>
        <p:nvPicPr>
          <p:cNvPr id="10" name="Bild 9" descr="Marknadsföring">
            <a:extLst>
              <a:ext uri="{FF2B5EF4-FFF2-40B4-BE49-F238E27FC236}">
                <a16:creationId xmlns:a16="http://schemas.microsoft.com/office/drawing/2014/main" id="{B8FB716B-E4DE-4BFB-A4CA-29452ECD36C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82879" y="2747342"/>
            <a:ext cx="832468" cy="832468"/>
          </a:xfrm>
          <a:prstGeom prst="rect">
            <a:avLst/>
          </a:prstGeom>
        </p:spPr>
      </p:pic>
      <p:pic>
        <p:nvPicPr>
          <p:cNvPr id="20" name="Bild 19" descr="Bock">
            <a:extLst>
              <a:ext uri="{FF2B5EF4-FFF2-40B4-BE49-F238E27FC236}">
                <a16:creationId xmlns:a16="http://schemas.microsoft.com/office/drawing/2014/main" id="{B4533BC8-CB80-4FA1-9CB7-461589A7ADC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782880" y="1531312"/>
            <a:ext cx="832467" cy="832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3021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032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CFCCCF5-BAA9-4E4C-96B6-6829CE835F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6274" y="9685"/>
            <a:ext cx="10515600" cy="1149264"/>
          </a:xfrm>
        </p:spPr>
        <p:txBody>
          <a:bodyPr/>
          <a:lstStyle/>
          <a:p>
            <a:r>
              <a:rPr lang="sv-SE">
                <a:ea typeface="+mj-lt"/>
                <a:cs typeface="+mj-lt"/>
              </a:rPr>
              <a:t>Syfte: Koordinera och samla in behov samt kanal för informations- och erfarenhetsutbyte</a:t>
            </a:r>
            <a:endParaRPr lang="sv-SE"/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BC5C837C-7D53-4E50-BDC1-752E6FCF03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4" y="1276644"/>
            <a:ext cx="10459450" cy="4098851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sv-SE" b="1" dirty="0">
                <a:solidFill>
                  <a:schemeClr val="tx1"/>
                </a:solidFill>
                <a:ea typeface="+mn-lt"/>
                <a:cs typeface="+mn-lt"/>
              </a:rPr>
              <a:t>Agenda</a:t>
            </a:r>
            <a:endParaRPr lang="en-US" dirty="0">
              <a:solidFill>
                <a:schemeClr val="tx1"/>
              </a:solidFill>
              <a:ea typeface="+mn-lt"/>
              <a:cs typeface="+mn-lt"/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Östergötland: Supportrutiner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Anmälda frågor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Kommande användarforum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Sammanfattning av användarforum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</a:pPr>
            <a:endParaRPr lang="sv-SE" dirty="0">
              <a:solidFill>
                <a:schemeClr val="tx1"/>
              </a:solidFill>
              <a:ea typeface="Open Sans"/>
              <a:cs typeface="Open Sans"/>
            </a:endParaRP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B9BDEB0-A059-4A27-A7FB-18D322E606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F71C981C-F9F9-4167-9BDA-91B21A785F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38514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CFCCCF5-BAA9-4E4C-96B6-6829CE835F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ea typeface="+mj-lt"/>
                <a:cs typeface="+mj-lt"/>
              </a:rPr>
              <a:t>Agenda</a:t>
            </a:r>
            <a:endParaRPr lang="sv-SE"/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BC5C837C-7D53-4E50-BDC1-752E6FCF03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6275" y="1406194"/>
            <a:ext cx="10459450" cy="3564527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b="1" dirty="0">
                <a:solidFill>
                  <a:schemeClr val="tx1"/>
                </a:solidFill>
                <a:ea typeface="Open Sans"/>
                <a:cs typeface="Open Sans"/>
              </a:rPr>
              <a:t>Östergötland: Supportrutiner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Anmälda frågor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Kommande användarforum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Sammanfattning av användarforum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 </a:t>
            </a: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B9BDEB0-A059-4A27-A7FB-18D322E606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F71C981C-F9F9-4167-9BDA-91B21A785F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58201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/>
          <p:cNvSpPr>
            <a:spLocks noGrp="1"/>
          </p:cNvSpPr>
          <p:nvPr>
            <p:ph type="body" sz="quarter" idx="12"/>
          </p:nvPr>
        </p:nvSpPr>
        <p:spPr>
          <a:xfrm>
            <a:off x="1531559" y="1555925"/>
            <a:ext cx="9144000" cy="1763788"/>
          </a:xfrm>
        </p:spPr>
        <p:txBody>
          <a:bodyPr/>
          <a:lstStyle/>
          <a:p>
            <a:r>
              <a:rPr lang="sv-SE" dirty="0"/>
              <a:t>Supportkedja i Stöd och</a:t>
            </a:r>
          </a:p>
          <a:p>
            <a:r>
              <a:rPr lang="sv-SE" dirty="0"/>
              <a:t> behandling i Östergötland</a:t>
            </a: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1689570" y="6281628"/>
            <a:ext cx="6235230" cy="365125"/>
          </a:xfrm>
        </p:spPr>
        <p:txBody>
          <a:bodyPr/>
          <a:lstStyle/>
          <a:p>
            <a:r>
              <a:rPr lang="sv-SE" dirty="0"/>
              <a:t>2022-04-22, Agneta Sandell Kindstedt, förvaltare SOB Östergötland</a:t>
            </a:r>
          </a:p>
        </p:txBody>
      </p:sp>
    </p:spTree>
    <p:extLst>
      <p:ext uri="{BB962C8B-B14F-4D97-AF65-F5344CB8AC3E}">
        <p14:creationId xmlns:p14="http://schemas.microsoft.com/office/powerpoint/2010/main" val="7648913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idx="1"/>
          </p:nvPr>
        </p:nvSpPr>
        <p:spPr>
          <a:xfrm>
            <a:off x="1981201" y="2410539"/>
            <a:ext cx="3712128" cy="3200018"/>
          </a:xfrm>
          <a:ln>
            <a:solidFill>
              <a:schemeClr val="accent1"/>
            </a:solidFill>
          </a:ln>
        </p:spPr>
        <p:txBody>
          <a:bodyPr>
            <a:normAutofit lnSpcReduction="10000"/>
          </a:bodyPr>
          <a:lstStyle/>
          <a:p>
            <a:pPr marL="90488" indent="0">
              <a:buNone/>
            </a:pPr>
            <a:r>
              <a:rPr lang="sv-SE" dirty="0"/>
              <a:t>      </a:t>
            </a:r>
            <a:r>
              <a:rPr lang="sv-SE" sz="2800" u="sng" dirty="0"/>
              <a:t>Funktion i SOB</a:t>
            </a:r>
            <a:r>
              <a:rPr lang="sv-SE" dirty="0"/>
              <a:t> </a:t>
            </a:r>
          </a:p>
          <a:p>
            <a:endParaRPr lang="sv-SE" dirty="0"/>
          </a:p>
          <a:p>
            <a:r>
              <a:rPr lang="sv-SE" dirty="0"/>
              <a:t>Inloggning fungerar inte</a:t>
            </a:r>
          </a:p>
          <a:p>
            <a:r>
              <a:rPr lang="sv-SE" dirty="0"/>
              <a:t>Felmeddelanden i SOB</a:t>
            </a:r>
          </a:p>
          <a:p>
            <a:r>
              <a:rPr lang="sv-SE" dirty="0"/>
              <a:t>Går inte att skriva meddelande</a:t>
            </a:r>
          </a:p>
          <a:p>
            <a:r>
              <a:rPr lang="sv-SE" dirty="0"/>
              <a:t>Sortering på Kategori fungerar inte</a:t>
            </a:r>
          </a:p>
          <a:p>
            <a:endParaRPr lang="sv-SE" dirty="0"/>
          </a:p>
          <a:p>
            <a:pPr marL="90488" indent="0">
              <a:buNone/>
            </a:pPr>
            <a:endParaRPr lang="sv-SE" dirty="0"/>
          </a:p>
          <a:p>
            <a:endParaRPr lang="sv-SE" dirty="0"/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         Ärendets karaktär 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8CCFDF-DFA5-484F-9FF8-7212AEA69C48}" type="slidenum">
              <a:rPr lang="sv-SE" smtClean="0"/>
              <a:pPr/>
              <a:t>6</a:t>
            </a:fld>
            <a:endParaRPr lang="sv-SE" dirty="0"/>
          </a:p>
        </p:txBody>
      </p:sp>
      <p:sp>
        <p:nvSpPr>
          <p:cNvPr id="5" name="Platshållare för innehåll 1">
            <a:extLst>
              <a:ext uri="{FF2B5EF4-FFF2-40B4-BE49-F238E27FC236}">
                <a16:creationId xmlns:a16="http://schemas.microsoft.com/office/drawing/2014/main" id="{29E1E896-632B-4080-B295-14B4E222DAED}"/>
              </a:ext>
            </a:extLst>
          </p:cNvPr>
          <p:cNvSpPr txBox="1">
            <a:spLocks/>
          </p:cNvSpPr>
          <p:nvPr/>
        </p:nvSpPr>
        <p:spPr>
          <a:xfrm>
            <a:off x="6297336" y="2410539"/>
            <a:ext cx="3607266" cy="3200018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>
            <a:normAutofit/>
          </a:bodyPr>
          <a:lstStyle>
            <a:lvl1pPr marL="442913" indent="-352425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Tahoma"/>
                <a:ea typeface="+mn-ea"/>
                <a:cs typeface="Tahom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200" kern="1200">
                <a:solidFill>
                  <a:schemeClr val="tx1"/>
                </a:solidFill>
                <a:latin typeface="Tahoma"/>
                <a:ea typeface="+mn-ea"/>
                <a:cs typeface="Tahom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Tahoma"/>
                <a:ea typeface="+mn-ea"/>
                <a:cs typeface="Tahom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200" kern="1200">
                <a:solidFill>
                  <a:schemeClr val="tx1"/>
                </a:solidFill>
                <a:latin typeface="Tahoma"/>
                <a:ea typeface="+mn-ea"/>
                <a:cs typeface="Tahom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200" kern="1200">
                <a:solidFill>
                  <a:schemeClr val="tx1"/>
                </a:solidFill>
                <a:latin typeface="Tahoma"/>
                <a:ea typeface="+mn-ea"/>
                <a:cs typeface="Tahom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488" indent="0">
              <a:buNone/>
            </a:pPr>
            <a:r>
              <a:rPr lang="sv-SE" sz="2200" dirty="0"/>
              <a:t>    </a:t>
            </a:r>
            <a:r>
              <a:rPr lang="sv-SE" sz="2800" u="sng" dirty="0"/>
              <a:t>Innehåll i moment </a:t>
            </a:r>
          </a:p>
          <a:p>
            <a:endParaRPr lang="sv-SE" sz="2200" dirty="0"/>
          </a:p>
          <a:p>
            <a:r>
              <a:rPr lang="sv-SE" sz="2200" dirty="0"/>
              <a:t>Innehåll i modulen XXXX är felaktig</a:t>
            </a:r>
          </a:p>
          <a:p>
            <a:r>
              <a:rPr lang="sv-SE" sz="2200" dirty="0"/>
              <a:t>Min patient är missnöjd med behandlingen </a:t>
            </a:r>
          </a:p>
          <a:p>
            <a:r>
              <a:rPr lang="sv-SE" sz="2200" dirty="0"/>
              <a:t>Hur länge ska patienten har momentet XXX</a:t>
            </a:r>
          </a:p>
          <a:p>
            <a:endParaRPr lang="sv-SE" sz="2200" dirty="0"/>
          </a:p>
          <a:p>
            <a:endParaRPr lang="sv-SE" sz="2200" dirty="0"/>
          </a:p>
          <a:p>
            <a:endParaRPr lang="sv-SE" sz="2200" dirty="0"/>
          </a:p>
        </p:txBody>
      </p:sp>
    </p:spTree>
    <p:extLst>
      <p:ext uri="{BB962C8B-B14F-4D97-AF65-F5344CB8AC3E}">
        <p14:creationId xmlns:p14="http://schemas.microsoft.com/office/powerpoint/2010/main" val="41036863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3FBB543A-C505-43AB-80C1-29ED164F5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6879" y="524415"/>
            <a:ext cx="7467506" cy="1265447"/>
          </a:xfrm>
        </p:spPr>
        <p:txBody>
          <a:bodyPr/>
          <a:lstStyle/>
          <a:p>
            <a:r>
              <a:rPr lang="sv-SE" dirty="0"/>
              <a:t>Support för momentets innehåll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0D85DBCC-0237-4025-B463-E52420A06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8CCFDF-DFA5-484F-9FF8-7212AEA69C48}" type="slidenum">
              <a:rPr lang="sv-SE" smtClean="0"/>
              <a:pPr/>
              <a:t>7</a:t>
            </a:fld>
            <a:endParaRPr lang="sv-SE" dirty="0"/>
          </a:p>
        </p:txBody>
      </p:sp>
      <p:sp>
        <p:nvSpPr>
          <p:cNvPr id="5" name="Platshållare för innehåll 1">
            <a:extLst>
              <a:ext uri="{FF2B5EF4-FFF2-40B4-BE49-F238E27FC236}">
                <a16:creationId xmlns:a16="http://schemas.microsoft.com/office/drawing/2014/main" id="{B31C4FC5-9D9F-448F-A952-6C24EC523E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81201" y="2409825"/>
            <a:ext cx="8024813" cy="3600450"/>
          </a:xfrm>
        </p:spPr>
        <p:txBody>
          <a:bodyPr>
            <a:normAutofit/>
          </a:bodyPr>
          <a:lstStyle/>
          <a:p>
            <a:endParaRPr lang="sv-SE" dirty="0"/>
          </a:p>
          <a:p>
            <a:pPr>
              <a:buFont typeface="Wingdings" panose="05000000000000000000" pitchFamily="2" charset="2"/>
              <a:buChar char="§"/>
            </a:pPr>
            <a:r>
              <a:rPr lang="sv-SE" dirty="0"/>
              <a:t>Läser själv på intranät/</a:t>
            </a:r>
            <a:r>
              <a:rPr lang="sv-SE" dirty="0" err="1"/>
              <a:t>Dokumenta</a:t>
            </a:r>
            <a:r>
              <a:rPr lang="sv-SE" dirty="0"/>
              <a:t>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v-SE" dirty="0"/>
              <a:t>Kontaktar innehållsförvaltare/kontaktperson i Östergötland för aktuellt moment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v-SE" dirty="0"/>
              <a:t>Vid behov av ändring tas kontakt med momentets utgivare. </a:t>
            </a:r>
          </a:p>
        </p:txBody>
      </p:sp>
    </p:spTree>
    <p:extLst>
      <p:ext uri="{BB962C8B-B14F-4D97-AF65-F5344CB8AC3E}">
        <p14:creationId xmlns:p14="http://schemas.microsoft.com/office/powerpoint/2010/main" val="8200984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54F2E840-FE62-4455-9A3C-6048A4343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47688" indent="-457200">
              <a:buFont typeface="+mj-lt"/>
              <a:buAutoNum type="arabicPeriod"/>
            </a:pPr>
            <a:r>
              <a:rPr lang="sv-SE" dirty="0"/>
              <a:t>Läser själv på intranät/</a:t>
            </a:r>
            <a:r>
              <a:rPr lang="sv-SE" dirty="0" err="1"/>
              <a:t>Dokumenta</a:t>
            </a:r>
            <a:r>
              <a:rPr lang="sv-SE" dirty="0"/>
              <a:t>.</a:t>
            </a:r>
          </a:p>
          <a:p>
            <a:pPr marL="547688" indent="-457200">
              <a:buFont typeface="+mj-lt"/>
              <a:buAutoNum type="arabicPeriod"/>
            </a:pPr>
            <a:r>
              <a:rPr lang="sv-SE" dirty="0"/>
              <a:t>Ringer Stöd &amp; service som skapar ärende i Östergötlands ärendehanteringssystem </a:t>
            </a:r>
            <a:r>
              <a:rPr lang="sv-SE" dirty="0" err="1"/>
              <a:t>Marval</a:t>
            </a:r>
            <a:r>
              <a:rPr lang="sv-SE" dirty="0"/>
              <a:t>.</a:t>
            </a:r>
          </a:p>
          <a:p>
            <a:pPr marL="547688" indent="-457200">
              <a:buFont typeface="+mj-lt"/>
              <a:buAutoNum type="arabicPeriod"/>
            </a:pPr>
            <a:r>
              <a:rPr lang="sv-SE" dirty="0"/>
              <a:t>Första linjens support bedömer/fördelar ärendet.</a:t>
            </a:r>
          </a:p>
          <a:p>
            <a:pPr marL="547688" indent="-457200">
              <a:buFont typeface="+mj-lt"/>
              <a:buAutoNum type="arabicPeriod"/>
            </a:pPr>
            <a:r>
              <a:rPr lang="sv-SE" dirty="0"/>
              <a:t>Andra linjens support (Vård-IT) åtgärdar utifrån FAQ eller skickar vidare.</a:t>
            </a:r>
          </a:p>
          <a:p>
            <a:pPr marL="547688" indent="-457200">
              <a:buFont typeface="+mj-lt"/>
              <a:buAutoNum type="arabicPeriod"/>
            </a:pPr>
            <a:r>
              <a:rPr lang="sv-SE" dirty="0"/>
              <a:t>Tredje linjens support (e-hälsa) får ärendet via </a:t>
            </a:r>
            <a:r>
              <a:rPr lang="sv-SE" dirty="0" err="1"/>
              <a:t>Marval</a:t>
            </a:r>
            <a:r>
              <a:rPr lang="sv-SE" dirty="0"/>
              <a:t>/mejl till funktionsbrevlåda.</a:t>
            </a:r>
          </a:p>
          <a:p>
            <a:pPr marL="547688" indent="-457200">
              <a:buFont typeface="+mj-lt"/>
              <a:buAutoNum type="arabicPeriod"/>
            </a:pPr>
            <a:r>
              <a:rPr lang="sv-SE" dirty="0"/>
              <a:t>I vissa fall kontaktas Inera </a:t>
            </a:r>
          </a:p>
          <a:p>
            <a:endParaRPr lang="sv-SE" dirty="0"/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508F8636-9616-4D8A-9EE7-14614A3DA8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upport för funktion i SOB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31BC725B-0D54-457F-857C-0CD34F2DE1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8CCFDF-DFA5-484F-9FF8-7212AEA69C48}" type="slidenum">
              <a:rPr lang="sv-SE" smtClean="0"/>
              <a:pPr/>
              <a:t>8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891373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4EA3D31A-0B72-4454-9B35-92DE593A6B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90488" indent="0">
              <a:buNone/>
            </a:pPr>
            <a:r>
              <a:rPr lang="sv-SE" sz="3200" dirty="0"/>
              <a:t>Vård-IT: </a:t>
            </a:r>
          </a:p>
          <a:p>
            <a:r>
              <a:rPr lang="sv-SE" dirty="0"/>
              <a:t>Kollar e-tjänstekort</a:t>
            </a:r>
          </a:p>
          <a:p>
            <a:r>
              <a:rPr lang="sv-SE" dirty="0"/>
              <a:t>Tömmer cashminnet</a:t>
            </a:r>
          </a:p>
          <a:p>
            <a:r>
              <a:rPr lang="sv-SE" dirty="0"/>
              <a:t>Starta om dator</a:t>
            </a:r>
          </a:p>
          <a:p>
            <a:r>
              <a:rPr lang="sv-SE" dirty="0"/>
              <a:t>Annat </a:t>
            </a:r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F3103801-6588-41E9-8120-FAE6E9FCED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ndra linjens support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438BB3D-1327-4931-B1A1-7CCD615FA6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8CCFDF-DFA5-484F-9FF8-7212AEA69C48}" type="slidenum">
              <a:rPr lang="sv-SE" smtClean="0"/>
              <a:pPr/>
              <a:t>9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542918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5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q8pWEAipNB.83_P_hIiw"/>
</p:tagLst>
</file>

<file path=ppt/theme/theme1.xml><?xml version="1.0" encoding="utf-8"?>
<a:theme xmlns:a="http://schemas.openxmlformats.org/drawingml/2006/main" name="1177 Vårguiden">
  <a:themeElements>
    <a:clrScheme name="1177">
      <a:dk1>
        <a:sysClr val="windowText" lastClr="000000"/>
      </a:dk1>
      <a:lt1>
        <a:sysClr val="window" lastClr="FFFFFF"/>
      </a:lt1>
      <a:dk2>
        <a:srgbClr val="FA8100"/>
      </a:dk2>
      <a:lt2>
        <a:srgbClr val="636466"/>
      </a:lt2>
      <a:accent1>
        <a:srgbClr val="C12143"/>
      </a:accent1>
      <a:accent2>
        <a:srgbClr val="6A0032"/>
      </a:accent2>
      <a:accent3>
        <a:srgbClr val="FAEEF0"/>
      </a:accent3>
      <a:accent4>
        <a:srgbClr val="396291"/>
      </a:accent4>
      <a:accent5>
        <a:srgbClr val="438F2C"/>
      </a:accent5>
      <a:accent6>
        <a:srgbClr val="A9428B"/>
      </a:accent6>
      <a:hlink>
        <a:srgbClr val="C12143"/>
      </a:hlink>
      <a:folHlink>
        <a:srgbClr val="6A0032"/>
      </a:folHlink>
    </a:clrScheme>
    <a:fontScheme name="1177">
      <a:majorFont>
        <a:latin typeface="Inter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ll_PPT_20190416  -  Skrivskyddad" id="{22903717-B928-4645-BD5D-D0BD4232857A}" vid="{FA763605-81F1-4FF2-B45C-69DD8ABF7492}"/>
    </a:ext>
  </a:extLst>
</a:theme>
</file>

<file path=ppt/theme/theme2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Reg Ost">
      <a:majorFont>
        <a:latin typeface="Georgi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9252be8-17ef-4408-949c-5e7cc87314a9">
      <Terms xmlns="http://schemas.microsoft.com/office/infopath/2007/PartnerControls"/>
    </lcf76f155ced4ddcb4097134ff3c332f>
    <TaxCatchAll xmlns="820a17fa-c612-436a-ad40-1f0b54d174c8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04AF1B5AFADE1438984E4ED97CAED62" ma:contentTypeVersion="12" ma:contentTypeDescription="Skapa ett nytt dokument." ma:contentTypeScope="" ma:versionID="d6f32c856bac6dcaf667985d7ac77902">
  <xsd:schema xmlns:xsd="http://www.w3.org/2001/XMLSchema" xmlns:xs="http://www.w3.org/2001/XMLSchema" xmlns:p="http://schemas.microsoft.com/office/2006/metadata/properties" xmlns:ns2="69252be8-17ef-4408-949c-5e7cc87314a9" xmlns:ns3="820a17fa-c612-436a-ad40-1f0b54d174c8" targetNamespace="http://schemas.microsoft.com/office/2006/metadata/properties" ma:root="true" ma:fieldsID="d3392acbbc36e96ac2a66d13341b06e5" ns2:_="" ns3:_="">
    <xsd:import namespace="69252be8-17ef-4408-949c-5e7cc87314a9"/>
    <xsd:import namespace="820a17fa-c612-436a-ad40-1f0b54d174c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252be8-17ef-4408-949c-5e7cc87314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7" nillable="true" ma:taxonomy="true" ma:internalName="lcf76f155ced4ddcb4097134ff3c332f" ma:taxonomyFieldName="MediaServiceImageTags" ma:displayName="Bildmarkeringar" ma:readOnly="false" ma:fieldId="{5cf76f15-5ced-4ddc-b409-7134ff3c332f}" ma:taxonomyMulti="true" ma:sspId="d24b8daa-ea0d-4019-ac30-410f7b645d3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0a17fa-c612-436a-ad40-1f0b54d174c8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a55771c1-dc24-4a76-bc59-e65bba6642bc}" ma:internalName="TaxCatchAll" ma:showField="CatchAllData" ma:web="820a17fa-c612-436a-ad40-1f0b54d174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5AB53AA-EBE4-46F9-A91E-045D87E59A5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4068680-729C-46D7-81EE-A3EC47914E3B}">
  <ds:schemaRefs>
    <ds:schemaRef ds:uri="69252be8-17ef-4408-949c-5e7cc87314a9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820a17fa-c612-436a-ad40-1f0b54d174c8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BF39C443-8A24-4721-8FEE-5A9F34458A2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252be8-17ef-4408-949c-5e7cc87314a9"/>
    <ds:schemaRef ds:uri="820a17fa-c612-436a-ad40-1f0b54d174c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47</TotalTime>
  <Words>528</Words>
  <Application>Microsoft Office PowerPoint</Application>
  <PresentationFormat>Bredbild</PresentationFormat>
  <Paragraphs>121</Paragraphs>
  <Slides>20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8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0</vt:i4>
      </vt:variant>
    </vt:vector>
  </HeadingPairs>
  <TitlesOfParts>
    <vt:vector size="31" baseType="lpstr">
      <vt:lpstr>Arial</vt:lpstr>
      <vt:lpstr>Arial,Sans-Serif</vt:lpstr>
      <vt:lpstr>Calibri</vt:lpstr>
      <vt:lpstr>Georgia</vt:lpstr>
      <vt:lpstr>Inter</vt:lpstr>
      <vt:lpstr>Open Sans</vt:lpstr>
      <vt:lpstr>Tahoma</vt:lpstr>
      <vt:lpstr>Wingdings</vt:lpstr>
      <vt:lpstr>1177 Vårguiden</vt:lpstr>
      <vt:lpstr>blank</vt:lpstr>
      <vt:lpstr>think-cell Slide</vt:lpstr>
      <vt:lpstr>Användarforum    Stöd och behandling</vt:lpstr>
      <vt:lpstr>Innan vi börjar….</vt:lpstr>
      <vt:lpstr>Syfte: Koordinera och samla in behov samt kanal för informations- och erfarenhetsutbyte</vt:lpstr>
      <vt:lpstr>Agenda</vt:lpstr>
      <vt:lpstr>PowerPoint-presentation</vt:lpstr>
      <vt:lpstr>         Ärendets karaktär </vt:lpstr>
      <vt:lpstr>Support för momentets innehåll</vt:lpstr>
      <vt:lpstr>Support för funktion i SOB</vt:lpstr>
      <vt:lpstr>Andra linjens support</vt:lpstr>
      <vt:lpstr>Tredje linjens support</vt:lpstr>
      <vt:lpstr>Utmaningar</vt:lpstr>
      <vt:lpstr>Kontaktuppgifter</vt:lpstr>
      <vt:lpstr>Agenda</vt:lpstr>
      <vt:lpstr>Anmälda frågor</vt:lpstr>
      <vt:lpstr>Agenda</vt:lpstr>
      <vt:lpstr>Vårens kommande Användarforum</vt:lpstr>
      <vt:lpstr>Agenda</vt:lpstr>
      <vt:lpstr>Sammanfattning av dagens användarforum</vt:lpstr>
      <vt:lpstr>Tack för er uppmärksamhet!  Finns det fördjupningsområde ni är intresserade av att höra om eller kanske själva prata om? Skicka ett ärende till supporten och tagga med ”Användarforum”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 rubrik kommer att stå här och kan vara på tre rader</dc:title>
  <dc:creator>Bennani Safia</dc:creator>
  <cp:lastModifiedBy>Axelsson Jenny</cp:lastModifiedBy>
  <cp:revision>29</cp:revision>
  <dcterms:created xsi:type="dcterms:W3CDTF">2019-08-13T08:23:18Z</dcterms:created>
  <dcterms:modified xsi:type="dcterms:W3CDTF">2022-04-19T12:2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4AF1B5AFADE1438984E4ED97CAED62</vt:lpwstr>
  </property>
  <property fmtid="{D5CDD505-2E9C-101B-9397-08002B2CF9AE}" pid="3" name="MediaServiceImageTags">
    <vt:lpwstr/>
  </property>
</Properties>
</file>